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3.xml" ContentType="application/vnd.openxmlformats-officedocument.presentationml.tags+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3.xml" ContentType="application/vnd.openxmlformats-officedocument.presentationml.tags+xml"/>
  <Override PartName="/ppt/tags/tag24.xml" ContentType="application/vnd.openxmlformats-officedocument.presentationml.tags+xml"/>
  <Override PartName="/ppt/notesSlides/notesSlide1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2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36.xml" ContentType="application/vnd.openxmlformats-officedocument.presentationml.tags+xml"/>
  <Override PartName="/ppt/tags/tag37.xml" ContentType="application/vnd.openxmlformats-officedocument.presentationml.tags+xml"/>
  <Override PartName="/ppt/notesSlides/notesSlide2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38.xml" ContentType="application/vnd.openxmlformats-officedocument.presentationml.tags+xml"/>
  <Override PartName="/ppt/notesSlides/notesSlide25.xml" ContentType="application/vnd.openxmlformats-officedocument.presentationml.notesSlide+xml"/>
  <Override PartName="/ppt/tags/tag39.xml" ContentType="application/vnd.openxmlformats-officedocument.presentationml.tags+xml"/>
  <Override PartName="/ppt/notesSlides/notesSlide26.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40.xml" ContentType="application/vnd.openxmlformats-officedocument.presentationml.tags+xml"/>
  <Override PartName="/ppt/notesSlides/notesSlide27.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1.xml" ContentType="application/vnd.openxmlformats-officedocument.presentationml.tags+xml"/>
  <Override PartName="/ppt/tags/tag42.xml" ContentType="application/vnd.openxmlformats-officedocument.presentationml.tags+xml"/>
  <Override PartName="/ppt/notesSlides/notesSlide28.xml" ContentType="application/vnd.openxmlformats-officedocument.presentationml.notesSlide+xml"/>
  <Override PartName="/ppt/tags/tag43.xml" ContentType="application/vnd.openxmlformats-officedocument.presentationml.tags+xml"/>
  <Override PartName="/ppt/notesSlides/notesSlide2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4.xml" ContentType="application/vnd.openxmlformats-officedocument.presentationml.tags+xml"/>
  <Override PartName="/ppt/tags/tag45.xml" ContentType="application/vnd.openxmlformats-officedocument.presentationml.tags+xml"/>
  <Override PartName="/ppt/notesSlides/notesSlide30.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49.xml" ContentType="application/vnd.openxmlformats-officedocument.presentationml.tags+xml"/>
  <Override PartName="/ppt/tags/tag50.xml" ContentType="application/vnd.openxmlformats-officedocument.presentationml.tags+xml"/>
  <Override PartName="/ppt/notesSlides/notesSlide3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3.xml" ContentType="application/vnd.openxmlformats-officedocument.presentationml.notesSlide+xml"/>
  <Override PartName="/ppt/tags/tag53.xml" ContentType="application/vnd.openxmlformats-officedocument.presentationml.tags+xml"/>
  <Override PartName="/ppt/notesSlides/notesSlide34.xml" ContentType="application/vnd.openxmlformats-officedocument.presentationml.notesSlide+xml"/>
  <Override PartName="/ppt/tags/tag54.xml" ContentType="application/vnd.openxmlformats-officedocument.presentationml.tags+xml"/>
  <Override PartName="/ppt/notesSlides/notesSlide35.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55.xml" ContentType="application/vnd.openxmlformats-officedocument.presentationml.tags+xml"/>
  <Override PartName="/ppt/tags/tag56.xml" ContentType="application/vnd.openxmlformats-officedocument.presentationml.tags+xml"/>
  <Override PartName="/ppt/notesSlides/notesSlide36.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7.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8.xml" ContentType="application/vnd.openxmlformats-officedocument.presentationml.notesSlide+xml"/>
  <Override PartName="/ppt/tags/tag61.xml" ContentType="application/vnd.openxmlformats-officedocument.presentationml.tags+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648" r:id="rId20"/>
  </p:sldMasterIdLst>
  <p:notesMasterIdLst>
    <p:notesMasterId r:id="rId60"/>
  </p:notesMasterIdLst>
  <p:sldIdLst>
    <p:sldId id="256" r:id="rId21"/>
    <p:sldId id="257" r:id="rId22"/>
    <p:sldId id="258" r:id="rId23"/>
    <p:sldId id="259" r:id="rId24"/>
    <p:sldId id="369" r:id="rId25"/>
    <p:sldId id="370" r:id="rId26"/>
    <p:sldId id="433" r:id="rId27"/>
    <p:sldId id="269" r:id="rId28"/>
    <p:sldId id="373" r:id="rId29"/>
    <p:sldId id="411" r:id="rId30"/>
    <p:sldId id="380" r:id="rId31"/>
    <p:sldId id="399" r:id="rId32"/>
    <p:sldId id="400" r:id="rId33"/>
    <p:sldId id="401" r:id="rId34"/>
    <p:sldId id="381" r:id="rId35"/>
    <p:sldId id="405" r:id="rId37"/>
    <p:sldId id="357" r:id="rId38"/>
    <p:sldId id="430" r:id="rId39"/>
    <p:sldId id="274" r:id="rId40"/>
    <p:sldId id="275" r:id="rId41"/>
    <p:sldId id="362" r:id="rId42"/>
    <p:sldId id="415" r:id="rId43"/>
    <p:sldId id="416" r:id="rId44"/>
    <p:sldId id="285" r:id="rId45"/>
    <p:sldId id="358" r:id="rId46"/>
    <p:sldId id="431" r:id="rId47"/>
    <p:sldId id="398" r:id="rId48"/>
    <p:sldId id="365" r:id="rId49"/>
    <p:sldId id="417" r:id="rId50"/>
    <p:sldId id="420" r:id="rId51"/>
    <p:sldId id="313" r:id="rId52"/>
    <p:sldId id="314" r:id="rId53"/>
    <p:sldId id="291" r:id="rId54"/>
    <p:sldId id="429" r:id="rId55"/>
    <p:sldId id="301" r:id="rId56"/>
    <p:sldId id="302" r:id="rId57"/>
    <p:sldId id="315" r:id="rId58"/>
    <p:sldId id="316" r:id="rId59"/>
  </p:sldIdLst>
  <p:sldSz cx="12192000"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7B040259-BBFF-4E4F-A6B7-CE9F356C9B85}">
          <p14:sldIdLst>
            <p14:sldId id="256"/>
            <p14:sldId id="257"/>
            <p14:sldId id="258"/>
          </p14:sldIdLst>
        </p14:section>
        <p14:section name="Debugging Overview" id="{62B5ED0F-1342-45DF-95CC-354A86E09E9C}">
          <p14:sldIdLst>
            <p14:sldId id="259"/>
            <p14:sldId id="369"/>
            <p14:sldId id="370"/>
            <p14:sldId id="433"/>
          </p14:sldIdLst>
        </p14:section>
        <p14:section name="Breakpoints" id="{92C56DB6-2B4D-4757-9A47-13F5D8C6B2D4}">
          <p14:sldIdLst>
            <p14:sldId id="269"/>
            <p14:sldId id="373"/>
            <p14:sldId id="411"/>
            <p14:sldId id="380"/>
            <p14:sldId id="399"/>
            <p14:sldId id="400"/>
          </p14:sldIdLst>
        </p14:section>
        <p14:section name="Working With The Debugger" id="{69056AB2-BD30-4608-B33A-E8D7B418E19E}">
          <p14:sldIdLst>
            <p14:sldId id="401"/>
            <p14:sldId id="381"/>
            <p14:sldId id="403"/>
            <p14:sldId id="405"/>
            <p14:sldId id="357"/>
            <p14:sldId id="430"/>
            <p14:sldId id="274"/>
            <p14:sldId id="275"/>
          </p14:sldIdLst>
        </p14:section>
        <p14:section name="Write + PSDebugContext" id="{2AC4D46D-1272-4E89-AF4A-75A21644436F}">
          <p14:sldIdLst>
            <p14:sldId id="362"/>
            <p14:sldId id="415"/>
            <p14:sldId id="416"/>
          </p14:sldIdLst>
        </p14:section>
        <p14:section name="Debugging Cmdlets" id="{780921BD-3A74-44B2-867D-1375113F80E0}">
          <p14:sldIdLst>
            <p14:sldId id="285"/>
            <p14:sldId id="358"/>
            <p14:sldId id="431"/>
            <p14:sldId id="398"/>
            <p14:sldId id="365"/>
            <p14:sldId id="417"/>
            <p14:sldId id="420"/>
            <p14:sldId id="313"/>
            <p14:sldId id="314"/>
          </p14:sldIdLst>
        </p14:section>
        <p14:section name="Debugging VS Code" id="{4A75227B-7758-49D9-86DE-4E7834D26B06}">
          <p14:sldIdLst>
            <p14:sldId id="291"/>
            <p14:sldId id="429"/>
            <p14:sldId id="301"/>
            <p14:sldId id="302"/>
          </p14:sldIdLst>
        </p14:section>
        <p14:section name="LAB: Debugging" id="{59AD7C61-7AFB-4213-8873-03EA98BF1D09}">
          <p14:sldIdLst>
            <p14:sldId id="315"/>
          </p14:sldIdLst>
        </p14:section>
        <p14:section name="End" id="{08451622-A593-4135-A344-589EEBB83B64}">
          <p14:sldIdLst>
            <p14:sldId id="31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674E02-B400-68E8-1D5E-53EE4CB50F41}" name="Jan-Hendrik Peters" initials="JHP" userId="Jan-Hendrik Peters" providerId="None"/>
  <p188:author id="{2F4F0018-1588-8C9D-E2D9-F30A2553DC53}" name="Serge Zuidinga" initials="SZ" userId="S::sezuidin@microsoft.com::b4dd8c83-77ae-48be-82e5-cc505e9b8727" providerId="AD"/>
  <p188:author id="{9C54B51B-B11F-3A38-BE84-966141B38A11}" name="Daniele De Angelis" initials="DA" userId="S::dadea@microsoft.com::923242f7-b5ee-4cfe-bd76-24f60a508424" providerId="AD"/>
  <p188:author id="{DEBB8F46-56C5-6132-2042-26086761F3BD}" name="Kory Thacher" initials="KT" userId="S::korythac@microsoft.com::995eb0f2-f21c-467c-a947-4f8fc26d0f2e" providerId="AD"/>
  <p188:author id="{65BD7E4F-8142-13A4-5C07-CEF6D3C8332B}" name="Kory Thacher" initials="KT" userId="Kory Thacher" providerId="None"/>
  <p188:author id="{B2A16661-BB4D-38BB-A088-E7635767FF92}" name="Daniele De Angelis" initials="DDA" userId="S::dadea@microsoft.com::923242f7-b5ee-4cfe-bd76-24f60a508424" providerId="AD"/>
  <p188:author id="{93308B89-5FE1-4D17-E84D-58634B25B407}" name="Michael Wiley" initials="MW" userId="S::micwil@microsoft.com::c47109c9-80e8-471c-a0d8-79372bbb0a30" providerId="AD"/>
  <p188:author id="{EFA001BD-6AC6-2322-D8A5-A7C0E75B8FAB}" name="Kory Thacher (APPS / POWERSHELL)" initials="KT(/P" userId="Kory Thacher (APPS / POWERSHELL)" providerId="None"/>
  <p188:author id="{46C7FBC5-482C-F474-A907-5575C63F128C}" name="Serge Zuidinga" initials="SZ" userId="S::sezuidin@microsoft.com::b4dd8c83-77ae-48be-82e5-cc505e9b8727" providerId="AD"/>
  <p188:author id="{0D3428EF-EBBF-0D99-A3B9-5DDB4A16D187}" name="Tony Radkiewicz" initials="TR" userId="S::anradkie@microsoft.com::9832534a-7e4f-4058-9c41-7f4a5b855c9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aniele De Angelis" initials="DDA" lastIdx="8" clrIdx="0">
    <p:extLst>
      <p:ext uri="{19B8F6BF-5375-455C-9EA6-DF929625EA0E}">
        <p15:presenceInfo xmlns:p15="http://schemas.microsoft.com/office/powerpoint/2012/main" userId="S::dadea@microsoft.com::923242f7-b5ee-4cfe-bd76-24f60a508424" providerId="AD"/>
      </p:ext>
    </p:extLst>
  </p:cmAuthor>
  <p:cmAuthor id="2" name="Kory Thacher" initials="KT" lastIdx="24" clrIdx="1">
    <p:extLst>
      <p:ext uri="{19B8F6BF-5375-455C-9EA6-DF929625EA0E}">
        <p15:presenceInfo xmlns:p15="http://schemas.microsoft.com/office/powerpoint/2012/main" userId="Kory Thach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B7411D-A499-41BE-B0E0-3A9A8450CB0B}" v="19" dt="2022-04-18T21:30:22.889"/>
    <p1510:client id="{A87F2697-6D6A-4791-86A3-2F042A8C0B04}" v="58" dt="2022-04-18T21:27:37.370"/>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6.xml" Id="rId26" /><Relationship Type="http://schemas.openxmlformats.org/officeDocument/2006/relationships/slide" Target="slides/slide1.xml" Id="rId21" /><Relationship Type="http://schemas.openxmlformats.org/officeDocument/2006/relationships/slide" Target="slides/slide22.xml" Id="rId42" /><Relationship Type="http://schemas.openxmlformats.org/officeDocument/2006/relationships/slide" Target="slides/slide27.xml" Id="rId47" /><Relationship Type="http://schemas.openxmlformats.org/officeDocument/2006/relationships/presProps" Target="presProps.xml" Id="rId63" /><Relationship Type="http://schemas.microsoft.com/office/2015/10/relationships/revisionInfo" Target="revisionInfo.xml" Id="rId68" /><Relationship Type="http://schemas.openxmlformats.org/officeDocument/2006/relationships/customXml" Target="../customXml/item7.xml" Id="rId7" /><Relationship Type="http://schemas.openxmlformats.org/officeDocument/2006/relationships/customXml" Target="../customXml/item2.xml" Id="rId2" /><Relationship Type="http://schemas.openxmlformats.org/officeDocument/2006/relationships/customXml" Target="../customXml/item16.xml" Id="rId16" /><Relationship Type="http://schemas.openxmlformats.org/officeDocument/2006/relationships/slide" Target="slides/slide9.xml" Id="rId29" /><Relationship Type="http://schemas.openxmlformats.org/officeDocument/2006/relationships/customXml" Target="../customXml/item11.xml" Id="rId11" /><Relationship Type="http://schemas.openxmlformats.org/officeDocument/2006/relationships/slide" Target="slides/slide4.xml" Id="rId24" /><Relationship Type="http://schemas.openxmlformats.org/officeDocument/2006/relationships/slide" Target="slides/slide12.xml" Id="rId32" /><Relationship Type="http://schemas.openxmlformats.org/officeDocument/2006/relationships/slide" Target="slides/slide17.xml" Id="rId37" /><Relationship Type="http://schemas.openxmlformats.org/officeDocument/2006/relationships/slide" Target="slides/slide20.xml" Id="rId40" /><Relationship Type="http://schemas.openxmlformats.org/officeDocument/2006/relationships/slide" Target="slides/slide25.xml" Id="rId45" /><Relationship Type="http://schemas.openxmlformats.org/officeDocument/2006/relationships/slide" Target="slides/slide33.xml" Id="rId53" /><Relationship Type="http://schemas.openxmlformats.org/officeDocument/2006/relationships/slide" Target="slides/slide38.xml" Id="rId58" /><Relationship Type="http://schemas.openxmlformats.org/officeDocument/2006/relationships/tableStyles" Target="tableStyles.xml" Id="rId66" /><Relationship Type="http://schemas.openxmlformats.org/officeDocument/2006/relationships/customXml" Target="../customXml/item5.xml" Id="rId5" /><Relationship Type="http://schemas.openxmlformats.org/officeDocument/2006/relationships/tags" Target="tags/tag1.xml" Id="rId61" /><Relationship Type="http://schemas.openxmlformats.org/officeDocument/2006/relationships/customXml" Target="../customXml/item19.xml" Id="rId19" /><Relationship Type="http://schemas.openxmlformats.org/officeDocument/2006/relationships/customXml" Target="../customXml/item14.xml" Id="rId14" /><Relationship Type="http://schemas.openxmlformats.org/officeDocument/2006/relationships/slide" Target="slides/slide2.xml" Id="rId22" /><Relationship Type="http://schemas.openxmlformats.org/officeDocument/2006/relationships/slide" Target="slides/slide7.xml" Id="rId27" /><Relationship Type="http://schemas.openxmlformats.org/officeDocument/2006/relationships/slide" Target="slides/slide10.xml" Id="rId30" /><Relationship Type="http://schemas.openxmlformats.org/officeDocument/2006/relationships/slide" Target="slides/slide15.xml" Id="rId35" /><Relationship Type="http://schemas.openxmlformats.org/officeDocument/2006/relationships/slide" Target="slides/slide23.xml" Id="rId43" /><Relationship Type="http://schemas.openxmlformats.org/officeDocument/2006/relationships/slide" Target="slides/slide28.xml" Id="rId48" /><Relationship Type="http://schemas.openxmlformats.org/officeDocument/2006/relationships/slide" Target="slides/slide36.xml" Id="rId56" /><Relationship Type="http://schemas.openxmlformats.org/officeDocument/2006/relationships/viewProps" Target="viewProps.xml" Id="rId64" /><Relationship Type="http://schemas.microsoft.com/office/2018/10/relationships/authors" Target="authors.xml" Id="rId69" /><Relationship Type="http://schemas.openxmlformats.org/officeDocument/2006/relationships/customXml" Target="../customXml/item8.xml" Id="rId8" /><Relationship Type="http://schemas.openxmlformats.org/officeDocument/2006/relationships/slide" Target="slides/slide31.xml" Id="rId51" /><Relationship Type="http://schemas.openxmlformats.org/officeDocument/2006/relationships/customXml" Target="../customXml/item3.xml" Id="rId3" /><Relationship Type="http://schemas.openxmlformats.org/officeDocument/2006/relationships/customXml" Target="../customXml/item12.xml" Id="rId12" /><Relationship Type="http://schemas.openxmlformats.org/officeDocument/2006/relationships/customXml" Target="../customXml/item17.xml" Id="rId17" /><Relationship Type="http://schemas.openxmlformats.org/officeDocument/2006/relationships/slide" Target="slides/slide5.xml" Id="rId25" /><Relationship Type="http://schemas.openxmlformats.org/officeDocument/2006/relationships/slide" Target="slides/slide13.xml" Id="rId33" /><Relationship Type="http://schemas.openxmlformats.org/officeDocument/2006/relationships/slide" Target="slides/slide18.xml" Id="rId38" /><Relationship Type="http://schemas.openxmlformats.org/officeDocument/2006/relationships/slide" Target="slides/slide26.xml" Id="rId46" /><Relationship Type="http://schemas.openxmlformats.org/officeDocument/2006/relationships/slide" Target="slides/slide39.xml" Id="rId59" /><Relationship Type="http://schemas.microsoft.com/office/2016/11/relationships/changesInfo" Target="changesInfos/changesInfo1.xml" Id="rId67" /><Relationship Type="http://schemas.openxmlformats.org/officeDocument/2006/relationships/slideMaster" Target="slideMasters/slideMaster1.xml" Id="rId20" /><Relationship Type="http://schemas.openxmlformats.org/officeDocument/2006/relationships/slide" Target="slides/slide21.xml" Id="rId41" /><Relationship Type="http://schemas.openxmlformats.org/officeDocument/2006/relationships/slide" Target="slides/slide34.xml" Id="rId54" /><Relationship Type="http://schemas.openxmlformats.org/officeDocument/2006/relationships/commentAuthors" Target="commentAuthors.xml" Id="rId62" /><Relationship Type="http://schemas.openxmlformats.org/officeDocument/2006/relationships/customXml" Target="../customXml/item1.xml" Id="rId1" /><Relationship Type="http://schemas.openxmlformats.org/officeDocument/2006/relationships/customXml" Target="../customXml/item6.xml" Id="rId6" /><Relationship Type="http://schemas.openxmlformats.org/officeDocument/2006/relationships/customXml" Target="../customXml/item15.xml" Id="rId15" /><Relationship Type="http://schemas.openxmlformats.org/officeDocument/2006/relationships/slide" Target="slides/slide3.xml" Id="rId23" /><Relationship Type="http://schemas.openxmlformats.org/officeDocument/2006/relationships/slide" Target="slides/slide8.xml" Id="rId28" /><Relationship Type="http://schemas.openxmlformats.org/officeDocument/2006/relationships/slide" Target="slides/slide29.xml" Id="rId49" /><Relationship Type="http://schemas.openxmlformats.org/officeDocument/2006/relationships/slide" Target="slides/slide37.xml" Id="rId57" /><Relationship Type="http://schemas.openxmlformats.org/officeDocument/2006/relationships/customXml" Target="../customXml/item10.xml" Id="rId10" /><Relationship Type="http://schemas.openxmlformats.org/officeDocument/2006/relationships/slide" Target="slides/slide11.xml" Id="rId31" /><Relationship Type="http://schemas.openxmlformats.org/officeDocument/2006/relationships/slide" Target="slides/slide24.xml" Id="rId44" /><Relationship Type="http://schemas.openxmlformats.org/officeDocument/2006/relationships/slide" Target="slides/slide32.xml" Id="rId52" /><Relationship Type="http://schemas.openxmlformats.org/officeDocument/2006/relationships/notesMaster" Target="notesMasters/notesMaster1.xml" Id="rId60" /><Relationship Type="http://schemas.openxmlformats.org/officeDocument/2006/relationships/theme" Target="theme/theme1.xml" Id="rId65" /><Relationship Type="http://schemas.openxmlformats.org/officeDocument/2006/relationships/customXml" Target="../customXml/item4.xml" Id="rId4" /><Relationship Type="http://schemas.openxmlformats.org/officeDocument/2006/relationships/customXml" Target="../customXml/item9.xml" Id="rId9" /><Relationship Type="http://schemas.openxmlformats.org/officeDocument/2006/relationships/customXml" Target="../customXml/item13.xml" Id="rId13" /><Relationship Type="http://schemas.openxmlformats.org/officeDocument/2006/relationships/customXml" Target="../customXml/item18.xml" Id="rId18" /><Relationship Type="http://schemas.openxmlformats.org/officeDocument/2006/relationships/slide" Target="slides/slide19.xml" Id="rId39" /><Relationship Type="http://schemas.openxmlformats.org/officeDocument/2006/relationships/slide" Target="slides/slide14.xml" Id="rId34" /><Relationship Type="http://schemas.openxmlformats.org/officeDocument/2006/relationships/slide" Target="slides/slide30.xml" Id="rId50" /><Relationship Type="http://schemas.openxmlformats.org/officeDocument/2006/relationships/slide" Target="slides/slide35.xml" Id="rId55"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Hendrik Peters" userId="b4a1494c-e397-487b-ba71-b18bd44b670c" providerId="ADAL" clId="{0970BB9D-7E3E-4F2C-B820-D88D37CDCC1F}"/>
    <pc:docChg chg="">
      <pc:chgData name="Jan-Hendrik Peters" userId="b4a1494c-e397-487b-ba71-b18bd44b670c" providerId="ADAL" clId="{0970BB9D-7E3E-4F2C-B820-D88D37CDCC1F}" dt="2022-03-22T09:15:03.602" v="3"/>
      <pc:docMkLst>
        <pc:docMk/>
      </pc:docMkLst>
      <pc:sldChg chg="addCm modCm">
        <pc:chgData name="Jan-Hendrik Peters" userId="b4a1494c-e397-487b-ba71-b18bd44b670c" providerId="ADAL" clId="{0970BB9D-7E3E-4F2C-B820-D88D37CDCC1F}" dt="2022-03-22T09:15:03.602" v="3"/>
        <pc:sldMkLst>
          <pc:docMk/>
          <pc:sldMk cId="4188363282" sldId="370"/>
        </pc:sldMkLst>
      </pc:sldChg>
      <pc:sldChg chg="modCm">
        <pc:chgData name="Jan-Hendrik Peters" userId="b4a1494c-e397-487b-ba71-b18bd44b670c" providerId="ADAL" clId="{0970BB9D-7E3E-4F2C-B820-D88D37CDCC1F}" dt="2022-03-22T09:11:46.415" v="1"/>
        <pc:sldMkLst>
          <pc:docMk/>
          <pc:sldMk cId="3367862728" sldId="381"/>
        </pc:sldMkLst>
      </pc:sldChg>
      <pc:sldChg chg="addCm">
        <pc:chgData name="Jan-Hendrik Peters" userId="b4a1494c-e397-487b-ba71-b18bd44b670c" providerId="ADAL" clId="{0970BB9D-7E3E-4F2C-B820-D88D37CDCC1F}" dt="2022-03-22T09:14:28.916" v="2"/>
        <pc:sldMkLst>
          <pc:docMk/>
          <pc:sldMk cId="2681839817" sldId="422"/>
        </pc:sldMkLst>
      </pc:sldChg>
    </pc:docChg>
  </pc:docChgLst>
  <pc:docChgLst>
    <pc:chgData name="Kory Thacher (APPS / POWERSHELL)" userId="995eb0f2-f21c-467c-a947-4f8fc26d0f2e" providerId="ADAL" clId="{90BE3EDE-F7E8-4C77-9892-0F40725CF1E6}"/>
    <pc:docChg chg="undo custSel addSld delSld modSld sldOrd addSection delSection modSection">
      <pc:chgData name="Kory Thacher (APPS / POWERSHELL)" userId="995eb0f2-f21c-467c-a947-4f8fc26d0f2e" providerId="ADAL" clId="{90BE3EDE-F7E8-4C77-9892-0F40725CF1E6}" dt="2021-10-28T17:36:33.533" v="12372"/>
      <pc:docMkLst>
        <pc:docMk/>
      </pc:docMkLst>
      <pc:sldChg chg="modSp mod addCm">
        <pc:chgData name="Kory Thacher (APPS / POWERSHELL)" userId="995eb0f2-f21c-467c-a947-4f8fc26d0f2e" providerId="ADAL" clId="{90BE3EDE-F7E8-4C77-9892-0F40725CF1E6}" dt="2021-10-28T17:10:03.238" v="11255" actId="2085"/>
        <pc:sldMkLst>
          <pc:docMk/>
          <pc:sldMk cId="2706938236" sldId="258"/>
        </pc:sldMkLst>
        <pc:graphicFrameChg chg="mod">
          <ac:chgData name="Kory Thacher (APPS / POWERSHELL)" userId="995eb0f2-f21c-467c-a947-4f8fc26d0f2e" providerId="ADAL" clId="{90BE3EDE-F7E8-4C77-9892-0F40725CF1E6}" dt="2021-10-28T17:10:03.238" v="11255" actId="2085"/>
          <ac:graphicFrameMkLst>
            <pc:docMk/>
            <pc:sldMk cId="2706938236" sldId="258"/>
            <ac:graphicFrameMk id="7" creationId="{7368B303-CF16-4220-B838-8FA9A1A56F31}"/>
          </ac:graphicFrameMkLst>
        </pc:graphicFrameChg>
      </pc:sldChg>
      <pc:sldChg chg="del">
        <pc:chgData name="Kory Thacher (APPS / POWERSHELL)" userId="995eb0f2-f21c-467c-a947-4f8fc26d0f2e" providerId="ADAL" clId="{90BE3EDE-F7E8-4C77-9892-0F40725CF1E6}" dt="2021-10-12T17:47:14.162" v="0" actId="47"/>
        <pc:sldMkLst>
          <pc:docMk/>
          <pc:sldMk cId="2342995957" sldId="260"/>
        </pc:sldMkLst>
      </pc:sldChg>
      <pc:sldChg chg="del">
        <pc:chgData name="Kory Thacher (APPS / POWERSHELL)" userId="995eb0f2-f21c-467c-a947-4f8fc26d0f2e" providerId="ADAL" clId="{90BE3EDE-F7E8-4C77-9892-0F40725CF1E6}" dt="2021-10-12T17:47:14.162" v="0" actId="47"/>
        <pc:sldMkLst>
          <pc:docMk/>
          <pc:sldMk cId="3719498106" sldId="261"/>
        </pc:sldMkLst>
      </pc:sldChg>
      <pc:sldChg chg="del">
        <pc:chgData name="Kory Thacher (APPS / POWERSHELL)" userId="995eb0f2-f21c-467c-a947-4f8fc26d0f2e" providerId="ADAL" clId="{90BE3EDE-F7E8-4C77-9892-0F40725CF1E6}" dt="2021-10-12T17:47:14.162" v="0" actId="47"/>
        <pc:sldMkLst>
          <pc:docMk/>
          <pc:sldMk cId="1410895066" sldId="262"/>
        </pc:sldMkLst>
      </pc:sldChg>
      <pc:sldChg chg="del">
        <pc:chgData name="Kory Thacher (APPS / POWERSHELL)" userId="995eb0f2-f21c-467c-a947-4f8fc26d0f2e" providerId="ADAL" clId="{90BE3EDE-F7E8-4C77-9892-0F40725CF1E6}" dt="2021-10-12T17:47:14.162" v="0" actId="47"/>
        <pc:sldMkLst>
          <pc:docMk/>
          <pc:sldMk cId="823528527" sldId="263"/>
        </pc:sldMkLst>
      </pc:sldChg>
      <pc:sldChg chg="del">
        <pc:chgData name="Kory Thacher (APPS / POWERSHELL)" userId="995eb0f2-f21c-467c-a947-4f8fc26d0f2e" providerId="ADAL" clId="{90BE3EDE-F7E8-4C77-9892-0F40725CF1E6}" dt="2021-10-12T17:47:14.162" v="0" actId="47"/>
        <pc:sldMkLst>
          <pc:docMk/>
          <pc:sldMk cId="2386969107" sldId="264"/>
        </pc:sldMkLst>
      </pc:sldChg>
      <pc:sldChg chg="del">
        <pc:chgData name="Kory Thacher (APPS / POWERSHELL)" userId="995eb0f2-f21c-467c-a947-4f8fc26d0f2e" providerId="ADAL" clId="{90BE3EDE-F7E8-4C77-9892-0F40725CF1E6}" dt="2021-10-12T17:47:14.162" v="0" actId="47"/>
        <pc:sldMkLst>
          <pc:docMk/>
          <pc:sldMk cId="1108585550" sldId="265"/>
        </pc:sldMkLst>
      </pc:sldChg>
      <pc:sldChg chg="del">
        <pc:chgData name="Kory Thacher (APPS / POWERSHELL)" userId="995eb0f2-f21c-467c-a947-4f8fc26d0f2e" providerId="ADAL" clId="{90BE3EDE-F7E8-4C77-9892-0F40725CF1E6}" dt="2021-10-12T17:47:14.162" v="0" actId="47"/>
        <pc:sldMkLst>
          <pc:docMk/>
          <pc:sldMk cId="9716399" sldId="266"/>
        </pc:sldMkLst>
      </pc:sldChg>
      <pc:sldChg chg="del">
        <pc:chgData name="Kory Thacher (APPS / POWERSHELL)" userId="995eb0f2-f21c-467c-a947-4f8fc26d0f2e" providerId="ADAL" clId="{90BE3EDE-F7E8-4C77-9892-0F40725CF1E6}" dt="2021-10-12T17:54:45.497" v="65" actId="47"/>
        <pc:sldMkLst>
          <pc:docMk/>
          <pc:sldMk cId="382135437" sldId="267"/>
        </pc:sldMkLst>
      </pc:sldChg>
      <pc:sldChg chg="del">
        <pc:chgData name="Kory Thacher (APPS / POWERSHELL)" userId="995eb0f2-f21c-467c-a947-4f8fc26d0f2e" providerId="ADAL" clId="{90BE3EDE-F7E8-4C77-9892-0F40725CF1E6}" dt="2021-10-12T21:45:27.161" v="1177" actId="47"/>
        <pc:sldMkLst>
          <pc:docMk/>
          <pc:sldMk cId="628917832" sldId="268"/>
        </pc:sldMkLst>
      </pc:sldChg>
      <pc:sldChg chg="del">
        <pc:chgData name="Kory Thacher (APPS / POWERSHELL)" userId="995eb0f2-f21c-467c-a947-4f8fc26d0f2e" providerId="ADAL" clId="{90BE3EDE-F7E8-4C77-9892-0F40725CF1E6}" dt="2021-10-12T17:47:19.654" v="1" actId="47"/>
        <pc:sldMkLst>
          <pc:docMk/>
          <pc:sldMk cId="3728638766" sldId="270"/>
        </pc:sldMkLst>
      </pc:sldChg>
      <pc:sldChg chg="del">
        <pc:chgData name="Kory Thacher (APPS / POWERSHELL)" userId="995eb0f2-f21c-467c-a947-4f8fc26d0f2e" providerId="ADAL" clId="{90BE3EDE-F7E8-4C77-9892-0F40725CF1E6}" dt="2021-10-12T17:47:19.654" v="1" actId="47"/>
        <pc:sldMkLst>
          <pc:docMk/>
          <pc:sldMk cId="2132337331" sldId="271"/>
        </pc:sldMkLst>
      </pc:sldChg>
      <pc:sldChg chg="del">
        <pc:chgData name="Kory Thacher (APPS / POWERSHELL)" userId="995eb0f2-f21c-467c-a947-4f8fc26d0f2e" providerId="ADAL" clId="{90BE3EDE-F7E8-4C77-9892-0F40725CF1E6}" dt="2021-10-12T17:47:19.654" v="1" actId="47"/>
        <pc:sldMkLst>
          <pc:docMk/>
          <pc:sldMk cId="494970831" sldId="272"/>
        </pc:sldMkLst>
      </pc:sldChg>
      <pc:sldChg chg="del">
        <pc:chgData name="Kory Thacher (APPS / POWERSHELL)" userId="995eb0f2-f21c-467c-a947-4f8fc26d0f2e" providerId="ADAL" clId="{90BE3EDE-F7E8-4C77-9892-0F40725CF1E6}" dt="2021-10-12T17:47:19.654" v="1" actId="47"/>
        <pc:sldMkLst>
          <pc:docMk/>
          <pc:sldMk cId="1902750434" sldId="273"/>
        </pc:sldMkLst>
      </pc:sldChg>
      <pc:sldChg chg="modNotesTx">
        <pc:chgData name="Kory Thacher (APPS / POWERSHELL)" userId="995eb0f2-f21c-467c-a947-4f8fc26d0f2e" providerId="ADAL" clId="{90BE3EDE-F7E8-4C77-9892-0F40725CF1E6}" dt="2021-10-28T17:34:10.161" v="12226" actId="20577"/>
        <pc:sldMkLst>
          <pc:docMk/>
          <pc:sldMk cId="2364647351" sldId="274"/>
        </pc:sldMkLst>
      </pc:sldChg>
      <pc:sldChg chg="modSp del mod">
        <pc:chgData name="Kory Thacher (APPS / POWERSHELL)" userId="995eb0f2-f21c-467c-a947-4f8fc26d0f2e" providerId="ADAL" clId="{90BE3EDE-F7E8-4C77-9892-0F40725CF1E6}" dt="2021-10-12T18:03:12.884" v="333" actId="18676"/>
        <pc:sldMkLst>
          <pc:docMk/>
          <pc:sldMk cId="4291034557" sldId="276"/>
        </pc:sldMkLst>
        <pc:spChg chg="mod">
          <ac:chgData name="Kory Thacher (APPS / POWERSHELL)" userId="995eb0f2-f21c-467c-a947-4f8fc26d0f2e" providerId="ADAL" clId="{90BE3EDE-F7E8-4C77-9892-0F40725CF1E6}" dt="2021-10-12T18:01:37.448" v="261" actId="20577"/>
          <ac:spMkLst>
            <pc:docMk/>
            <pc:sldMk cId="4291034557" sldId="276"/>
            <ac:spMk id="4" creationId="{9CBC6F63-616D-478D-A91D-8B071350BF64}"/>
          </ac:spMkLst>
        </pc:spChg>
      </pc:sldChg>
      <pc:sldChg chg="del">
        <pc:chgData name="Kory Thacher (APPS / POWERSHELL)" userId="995eb0f2-f21c-467c-a947-4f8fc26d0f2e" providerId="ADAL" clId="{90BE3EDE-F7E8-4C77-9892-0F40725CF1E6}" dt="2021-10-12T17:47:28.138" v="2" actId="47"/>
        <pc:sldMkLst>
          <pc:docMk/>
          <pc:sldMk cId="3203477656" sldId="277"/>
        </pc:sldMkLst>
      </pc:sldChg>
      <pc:sldChg chg="del">
        <pc:chgData name="Kory Thacher (APPS / POWERSHELL)" userId="995eb0f2-f21c-467c-a947-4f8fc26d0f2e" providerId="ADAL" clId="{90BE3EDE-F7E8-4C77-9892-0F40725CF1E6}" dt="2021-10-12T17:47:28.138" v="2" actId="47"/>
        <pc:sldMkLst>
          <pc:docMk/>
          <pc:sldMk cId="1387357204" sldId="278"/>
        </pc:sldMkLst>
      </pc:sldChg>
      <pc:sldChg chg="del">
        <pc:chgData name="Kory Thacher (APPS / POWERSHELL)" userId="995eb0f2-f21c-467c-a947-4f8fc26d0f2e" providerId="ADAL" clId="{90BE3EDE-F7E8-4C77-9892-0F40725CF1E6}" dt="2021-10-12T17:47:28.138" v="2" actId="47"/>
        <pc:sldMkLst>
          <pc:docMk/>
          <pc:sldMk cId="3453702900" sldId="279"/>
        </pc:sldMkLst>
      </pc:sldChg>
      <pc:sldChg chg="del">
        <pc:chgData name="Kory Thacher (APPS / POWERSHELL)" userId="995eb0f2-f21c-467c-a947-4f8fc26d0f2e" providerId="ADAL" clId="{90BE3EDE-F7E8-4C77-9892-0F40725CF1E6}" dt="2021-10-12T17:47:28.138" v="2" actId="47"/>
        <pc:sldMkLst>
          <pc:docMk/>
          <pc:sldMk cId="81307545" sldId="280"/>
        </pc:sldMkLst>
      </pc:sldChg>
      <pc:sldChg chg="del">
        <pc:chgData name="Kory Thacher (APPS / POWERSHELL)" userId="995eb0f2-f21c-467c-a947-4f8fc26d0f2e" providerId="ADAL" clId="{90BE3EDE-F7E8-4C77-9892-0F40725CF1E6}" dt="2021-10-12T17:47:28.138" v="2" actId="47"/>
        <pc:sldMkLst>
          <pc:docMk/>
          <pc:sldMk cId="3477022788" sldId="281"/>
        </pc:sldMkLst>
      </pc:sldChg>
      <pc:sldChg chg="del">
        <pc:chgData name="Kory Thacher (APPS / POWERSHELL)" userId="995eb0f2-f21c-467c-a947-4f8fc26d0f2e" providerId="ADAL" clId="{90BE3EDE-F7E8-4C77-9892-0F40725CF1E6}" dt="2021-10-12T17:47:28.138" v="2" actId="47"/>
        <pc:sldMkLst>
          <pc:docMk/>
          <pc:sldMk cId="1342312358" sldId="282"/>
        </pc:sldMkLst>
      </pc:sldChg>
      <pc:sldChg chg="del">
        <pc:chgData name="Kory Thacher (APPS / POWERSHELL)" userId="995eb0f2-f21c-467c-a947-4f8fc26d0f2e" providerId="ADAL" clId="{90BE3EDE-F7E8-4C77-9892-0F40725CF1E6}" dt="2021-10-12T18:03:12.884" v="333" actId="18676"/>
        <pc:sldMkLst>
          <pc:docMk/>
          <pc:sldMk cId="1965683120" sldId="283"/>
        </pc:sldMkLst>
      </pc:sldChg>
      <pc:sldChg chg="del">
        <pc:chgData name="Kory Thacher (APPS / POWERSHELL)" userId="995eb0f2-f21c-467c-a947-4f8fc26d0f2e" providerId="ADAL" clId="{90BE3EDE-F7E8-4C77-9892-0F40725CF1E6}" dt="2021-10-12T18:03:12.884" v="333" actId="18676"/>
        <pc:sldMkLst>
          <pc:docMk/>
          <pc:sldMk cId="2401727852" sldId="284"/>
        </pc:sldMkLst>
      </pc:sldChg>
      <pc:sldChg chg="del">
        <pc:chgData name="Kory Thacher (APPS / POWERSHELL)" userId="995eb0f2-f21c-467c-a947-4f8fc26d0f2e" providerId="ADAL" clId="{90BE3EDE-F7E8-4C77-9892-0F40725CF1E6}" dt="2021-10-12T17:47:32.124" v="3" actId="47"/>
        <pc:sldMkLst>
          <pc:docMk/>
          <pc:sldMk cId="3794815932" sldId="286"/>
        </pc:sldMkLst>
      </pc:sldChg>
      <pc:sldChg chg="del">
        <pc:chgData name="Kory Thacher (APPS / POWERSHELL)" userId="995eb0f2-f21c-467c-a947-4f8fc26d0f2e" providerId="ADAL" clId="{90BE3EDE-F7E8-4C77-9892-0F40725CF1E6}" dt="2021-10-12T17:47:32.124" v="3" actId="47"/>
        <pc:sldMkLst>
          <pc:docMk/>
          <pc:sldMk cId="3919039517" sldId="287"/>
        </pc:sldMkLst>
      </pc:sldChg>
      <pc:sldChg chg="del">
        <pc:chgData name="Kory Thacher (APPS / POWERSHELL)" userId="995eb0f2-f21c-467c-a947-4f8fc26d0f2e" providerId="ADAL" clId="{90BE3EDE-F7E8-4C77-9892-0F40725CF1E6}" dt="2021-10-12T17:47:32.124" v="3" actId="47"/>
        <pc:sldMkLst>
          <pc:docMk/>
          <pc:sldMk cId="3226064677" sldId="288"/>
        </pc:sldMkLst>
      </pc:sldChg>
      <pc:sldChg chg="del">
        <pc:chgData name="Kory Thacher (APPS / POWERSHELL)" userId="995eb0f2-f21c-467c-a947-4f8fc26d0f2e" providerId="ADAL" clId="{90BE3EDE-F7E8-4C77-9892-0F40725CF1E6}" dt="2021-10-12T18:05:55.562" v="408" actId="47"/>
        <pc:sldMkLst>
          <pc:docMk/>
          <pc:sldMk cId="3437468158" sldId="289"/>
        </pc:sldMkLst>
      </pc:sldChg>
      <pc:sldChg chg="del">
        <pc:chgData name="Kory Thacher (APPS / POWERSHELL)" userId="995eb0f2-f21c-467c-a947-4f8fc26d0f2e" providerId="ADAL" clId="{90BE3EDE-F7E8-4C77-9892-0F40725CF1E6}" dt="2021-10-12T18:05:55.562" v="408" actId="47"/>
        <pc:sldMkLst>
          <pc:docMk/>
          <pc:sldMk cId="3272030433" sldId="290"/>
        </pc:sldMkLst>
      </pc:sldChg>
      <pc:sldChg chg="del">
        <pc:chgData name="Kory Thacher (APPS / POWERSHELL)" userId="995eb0f2-f21c-467c-a947-4f8fc26d0f2e" providerId="ADAL" clId="{90BE3EDE-F7E8-4C77-9892-0F40725CF1E6}" dt="2021-10-12T17:47:37.286" v="4" actId="47"/>
        <pc:sldMkLst>
          <pc:docMk/>
          <pc:sldMk cId="3572996807" sldId="292"/>
        </pc:sldMkLst>
      </pc:sldChg>
      <pc:sldChg chg="del">
        <pc:chgData name="Kory Thacher (APPS / POWERSHELL)" userId="995eb0f2-f21c-467c-a947-4f8fc26d0f2e" providerId="ADAL" clId="{90BE3EDE-F7E8-4C77-9892-0F40725CF1E6}" dt="2021-10-12T17:47:37.286" v="4" actId="47"/>
        <pc:sldMkLst>
          <pc:docMk/>
          <pc:sldMk cId="1880589197" sldId="293"/>
        </pc:sldMkLst>
      </pc:sldChg>
      <pc:sldChg chg="del">
        <pc:chgData name="Kory Thacher (APPS / POWERSHELL)" userId="995eb0f2-f21c-467c-a947-4f8fc26d0f2e" providerId="ADAL" clId="{90BE3EDE-F7E8-4C77-9892-0F40725CF1E6}" dt="2021-10-12T17:47:37.286" v="4" actId="47"/>
        <pc:sldMkLst>
          <pc:docMk/>
          <pc:sldMk cId="2080049010" sldId="294"/>
        </pc:sldMkLst>
      </pc:sldChg>
      <pc:sldChg chg="del">
        <pc:chgData name="Kory Thacher (APPS / POWERSHELL)" userId="995eb0f2-f21c-467c-a947-4f8fc26d0f2e" providerId="ADAL" clId="{90BE3EDE-F7E8-4C77-9892-0F40725CF1E6}" dt="2021-10-12T17:47:37.286" v="4" actId="47"/>
        <pc:sldMkLst>
          <pc:docMk/>
          <pc:sldMk cId="1785117718" sldId="295"/>
        </pc:sldMkLst>
      </pc:sldChg>
      <pc:sldChg chg="del">
        <pc:chgData name="Kory Thacher (APPS / POWERSHELL)" userId="995eb0f2-f21c-467c-a947-4f8fc26d0f2e" providerId="ADAL" clId="{90BE3EDE-F7E8-4C77-9892-0F40725CF1E6}" dt="2021-10-12T17:47:37.286" v="4" actId="47"/>
        <pc:sldMkLst>
          <pc:docMk/>
          <pc:sldMk cId="3502064141" sldId="296"/>
        </pc:sldMkLst>
      </pc:sldChg>
      <pc:sldChg chg="del">
        <pc:chgData name="Kory Thacher (APPS / POWERSHELL)" userId="995eb0f2-f21c-467c-a947-4f8fc26d0f2e" providerId="ADAL" clId="{90BE3EDE-F7E8-4C77-9892-0F40725CF1E6}" dt="2021-10-12T17:47:37.286" v="4" actId="47"/>
        <pc:sldMkLst>
          <pc:docMk/>
          <pc:sldMk cId="1600202149" sldId="297"/>
        </pc:sldMkLst>
      </pc:sldChg>
      <pc:sldChg chg="del">
        <pc:chgData name="Kory Thacher (APPS / POWERSHELL)" userId="995eb0f2-f21c-467c-a947-4f8fc26d0f2e" providerId="ADAL" clId="{90BE3EDE-F7E8-4C77-9892-0F40725CF1E6}" dt="2021-10-12T17:47:37.286" v="4" actId="47"/>
        <pc:sldMkLst>
          <pc:docMk/>
          <pc:sldMk cId="3033688687" sldId="298"/>
        </pc:sldMkLst>
      </pc:sldChg>
      <pc:sldChg chg="del">
        <pc:chgData name="Kory Thacher (APPS / POWERSHELL)" userId="995eb0f2-f21c-467c-a947-4f8fc26d0f2e" providerId="ADAL" clId="{90BE3EDE-F7E8-4C77-9892-0F40725CF1E6}" dt="2021-10-12T17:47:37.286" v="4" actId="47"/>
        <pc:sldMkLst>
          <pc:docMk/>
          <pc:sldMk cId="422976626" sldId="299"/>
        </pc:sldMkLst>
      </pc:sldChg>
      <pc:sldChg chg="del">
        <pc:chgData name="Kory Thacher (APPS / POWERSHELL)" userId="995eb0f2-f21c-467c-a947-4f8fc26d0f2e" providerId="ADAL" clId="{90BE3EDE-F7E8-4C77-9892-0F40725CF1E6}" dt="2021-10-12T17:47:37.286" v="4" actId="47"/>
        <pc:sldMkLst>
          <pc:docMk/>
          <pc:sldMk cId="2008473560" sldId="300"/>
        </pc:sldMkLst>
      </pc:sldChg>
      <pc:sldChg chg="del">
        <pc:chgData name="Kory Thacher (APPS / POWERSHELL)" userId="995eb0f2-f21c-467c-a947-4f8fc26d0f2e" providerId="ADAL" clId="{90BE3EDE-F7E8-4C77-9892-0F40725CF1E6}" dt="2021-10-12T18:06:04.867" v="410" actId="47"/>
        <pc:sldMkLst>
          <pc:docMk/>
          <pc:sldMk cId="2733854064" sldId="303"/>
        </pc:sldMkLst>
      </pc:sldChg>
      <pc:sldChg chg="del">
        <pc:chgData name="Kory Thacher (APPS / POWERSHELL)" userId="995eb0f2-f21c-467c-a947-4f8fc26d0f2e" providerId="ADAL" clId="{90BE3EDE-F7E8-4C77-9892-0F40725CF1E6}" dt="2021-10-12T17:47:48.582" v="5" actId="47"/>
        <pc:sldMkLst>
          <pc:docMk/>
          <pc:sldMk cId="1631740724" sldId="304"/>
        </pc:sldMkLst>
      </pc:sldChg>
      <pc:sldChg chg="del">
        <pc:chgData name="Kory Thacher (APPS / POWERSHELL)" userId="995eb0f2-f21c-467c-a947-4f8fc26d0f2e" providerId="ADAL" clId="{90BE3EDE-F7E8-4C77-9892-0F40725CF1E6}" dt="2021-10-12T17:47:48.582" v="5" actId="47"/>
        <pc:sldMkLst>
          <pc:docMk/>
          <pc:sldMk cId="1326074465" sldId="305"/>
        </pc:sldMkLst>
      </pc:sldChg>
      <pc:sldChg chg="del">
        <pc:chgData name="Kory Thacher (APPS / POWERSHELL)" userId="995eb0f2-f21c-467c-a947-4f8fc26d0f2e" providerId="ADAL" clId="{90BE3EDE-F7E8-4C77-9892-0F40725CF1E6}" dt="2021-10-12T17:47:48.582" v="5" actId="47"/>
        <pc:sldMkLst>
          <pc:docMk/>
          <pc:sldMk cId="3069282161" sldId="306"/>
        </pc:sldMkLst>
      </pc:sldChg>
      <pc:sldChg chg="del">
        <pc:chgData name="Kory Thacher (APPS / POWERSHELL)" userId="995eb0f2-f21c-467c-a947-4f8fc26d0f2e" providerId="ADAL" clId="{90BE3EDE-F7E8-4C77-9892-0F40725CF1E6}" dt="2021-10-12T17:47:48.582" v="5" actId="47"/>
        <pc:sldMkLst>
          <pc:docMk/>
          <pc:sldMk cId="221276553" sldId="307"/>
        </pc:sldMkLst>
      </pc:sldChg>
      <pc:sldChg chg="del">
        <pc:chgData name="Kory Thacher (APPS / POWERSHELL)" userId="995eb0f2-f21c-467c-a947-4f8fc26d0f2e" providerId="ADAL" clId="{90BE3EDE-F7E8-4C77-9892-0F40725CF1E6}" dt="2021-10-12T17:47:48.582" v="5" actId="47"/>
        <pc:sldMkLst>
          <pc:docMk/>
          <pc:sldMk cId="684865522" sldId="308"/>
        </pc:sldMkLst>
      </pc:sldChg>
      <pc:sldChg chg="del">
        <pc:chgData name="Kory Thacher (APPS / POWERSHELL)" userId="995eb0f2-f21c-467c-a947-4f8fc26d0f2e" providerId="ADAL" clId="{90BE3EDE-F7E8-4C77-9892-0F40725CF1E6}" dt="2021-10-12T17:47:48.582" v="5" actId="47"/>
        <pc:sldMkLst>
          <pc:docMk/>
          <pc:sldMk cId="1134456646" sldId="309"/>
        </pc:sldMkLst>
      </pc:sldChg>
      <pc:sldChg chg="del">
        <pc:chgData name="Kory Thacher (APPS / POWERSHELL)" userId="995eb0f2-f21c-467c-a947-4f8fc26d0f2e" providerId="ADAL" clId="{90BE3EDE-F7E8-4C77-9892-0F40725CF1E6}" dt="2021-10-12T17:47:48.582" v="5" actId="47"/>
        <pc:sldMkLst>
          <pc:docMk/>
          <pc:sldMk cId="2263307138" sldId="310"/>
        </pc:sldMkLst>
      </pc:sldChg>
      <pc:sldChg chg="del">
        <pc:chgData name="Kory Thacher (APPS / POWERSHELL)" userId="995eb0f2-f21c-467c-a947-4f8fc26d0f2e" providerId="ADAL" clId="{90BE3EDE-F7E8-4C77-9892-0F40725CF1E6}" dt="2021-10-12T17:47:48.582" v="5" actId="47"/>
        <pc:sldMkLst>
          <pc:docMk/>
          <pc:sldMk cId="4149998808" sldId="311"/>
        </pc:sldMkLst>
      </pc:sldChg>
      <pc:sldChg chg="addSp delSp modSp del mod modNotesTx">
        <pc:chgData name="Kory Thacher (APPS / POWERSHELL)" userId="995eb0f2-f21c-467c-a947-4f8fc26d0f2e" providerId="ADAL" clId="{90BE3EDE-F7E8-4C77-9892-0F40725CF1E6}" dt="2021-10-14T22:51:34.266" v="7332" actId="47"/>
        <pc:sldMkLst>
          <pc:docMk/>
          <pc:sldMk cId="1993497757" sldId="312"/>
        </pc:sldMkLst>
        <pc:spChg chg="del mod">
          <ac:chgData name="Kory Thacher (APPS / POWERSHELL)" userId="995eb0f2-f21c-467c-a947-4f8fc26d0f2e" providerId="ADAL" clId="{90BE3EDE-F7E8-4C77-9892-0F40725CF1E6}" dt="2021-10-12T23:53:04.869" v="4621" actId="478"/>
          <ac:spMkLst>
            <pc:docMk/>
            <pc:sldMk cId="1993497757" sldId="312"/>
            <ac:spMk id="3" creationId="{00000000-0000-0000-0000-000000000000}"/>
          </ac:spMkLst>
        </pc:spChg>
        <pc:spChg chg="add mod">
          <ac:chgData name="Kory Thacher (APPS / POWERSHELL)" userId="995eb0f2-f21c-467c-a947-4f8fc26d0f2e" providerId="ADAL" clId="{90BE3EDE-F7E8-4C77-9892-0F40725CF1E6}" dt="2021-10-14T22:50:12.405" v="7313" actId="20577"/>
          <ac:spMkLst>
            <pc:docMk/>
            <pc:sldMk cId="1993497757" sldId="312"/>
            <ac:spMk id="4" creationId="{61CAFAC0-A886-498C-A5DF-4B89C26EF42D}"/>
          </ac:spMkLst>
        </pc:spChg>
      </pc:sldChg>
      <pc:sldChg chg="modSp mod modNotesTx">
        <pc:chgData name="Kory Thacher (APPS / POWERSHELL)" userId="995eb0f2-f21c-467c-a947-4f8fc26d0f2e" providerId="ADAL" clId="{90BE3EDE-F7E8-4C77-9892-0F40725CF1E6}" dt="2021-10-28T17:34:21.297" v="12229" actId="20577"/>
        <pc:sldMkLst>
          <pc:docMk/>
          <pc:sldMk cId="2752954175" sldId="313"/>
        </pc:sldMkLst>
        <pc:spChg chg="mod">
          <ac:chgData name="Kory Thacher (APPS / POWERSHELL)" userId="995eb0f2-f21c-467c-a947-4f8fc26d0f2e" providerId="ADAL" clId="{90BE3EDE-F7E8-4C77-9892-0F40725CF1E6}" dt="2021-10-20T15:46:16.048" v="7623" actId="14100"/>
          <ac:spMkLst>
            <pc:docMk/>
            <pc:sldMk cId="2752954175" sldId="313"/>
            <ac:spMk id="6" creationId="{637E159C-9ACF-48AE-927A-D5FB13695C7F}"/>
          </ac:spMkLst>
        </pc:spChg>
      </pc:sldChg>
      <pc:sldChg chg="modNotesTx">
        <pc:chgData name="Kory Thacher (APPS / POWERSHELL)" userId="995eb0f2-f21c-467c-a947-4f8fc26d0f2e" providerId="ADAL" clId="{90BE3EDE-F7E8-4C77-9892-0F40725CF1E6}" dt="2021-10-28T17:36:33.533" v="12372"/>
        <pc:sldMkLst>
          <pc:docMk/>
          <pc:sldMk cId="3371110617" sldId="314"/>
        </pc:sldMkLst>
      </pc:sldChg>
      <pc:sldChg chg="modSp mod">
        <pc:chgData name="Kory Thacher (APPS / POWERSHELL)" userId="995eb0f2-f21c-467c-a947-4f8fc26d0f2e" providerId="ADAL" clId="{90BE3EDE-F7E8-4C77-9892-0F40725CF1E6}" dt="2021-10-12T17:47:57.898" v="16" actId="20577"/>
        <pc:sldMkLst>
          <pc:docMk/>
          <pc:sldMk cId="1813866374" sldId="315"/>
        </pc:sldMkLst>
        <pc:spChg chg="mod">
          <ac:chgData name="Kory Thacher (APPS / POWERSHELL)" userId="995eb0f2-f21c-467c-a947-4f8fc26d0f2e" providerId="ADAL" clId="{90BE3EDE-F7E8-4C77-9892-0F40725CF1E6}" dt="2021-10-12T17:47:57.898" v="16" actId="20577"/>
          <ac:spMkLst>
            <pc:docMk/>
            <pc:sldMk cId="1813866374" sldId="315"/>
            <ac:spMk id="3" creationId="{4897B8F8-26DF-42FB-ACB0-59929F1C2344}"/>
          </ac:spMkLst>
        </pc:spChg>
      </pc:sldChg>
      <pc:sldChg chg="del">
        <pc:chgData name="Kory Thacher (APPS / POWERSHELL)" userId="995eb0f2-f21c-467c-a947-4f8fc26d0f2e" providerId="ADAL" clId="{90BE3EDE-F7E8-4C77-9892-0F40725CF1E6}" dt="2021-10-28T17:03:51.448" v="11118" actId="47"/>
        <pc:sldMkLst>
          <pc:docMk/>
          <pc:sldMk cId="878304386" sldId="318"/>
        </pc:sldMkLst>
      </pc:sldChg>
      <pc:sldChg chg="modSp add del mod modNotesTx">
        <pc:chgData name="Kory Thacher (APPS / POWERSHELL)" userId="995eb0f2-f21c-467c-a947-4f8fc26d0f2e" providerId="ADAL" clId="{90BE3EDE-F7E8-4C77-9892-0F40725CF1E6}" dt="2021-10-12T21:43:42.998" v="1170" actId="47"/>
        <pc:sldMkLst>
          <pc:docMk/>
          <pc:sldMk cId="334500391" sldId="319"/>
        </pc:sldMkLst>
        <pc:spChg chg="mod">
          <ac:chgData name="Kory Thacher (APPS / POWERSHELL)" userId="995eb0f2-f21c-467c-a947-4f8fc26d0f2e" providerId="ADAL" clId="{90BE3EDE-F7E8-4C77-9892-0F40725CF1E6}" dt="2021-10-12T17:51:17.353" v="34" actId="20577"/>
          <ac:spMkLst>
            <pc:docMk/>
            <pc:sldMk cId="334500391" sldId="319"/>
            <ac:spMk id="2" creationId="{00000000-0000-0000-0000-000000000000}"/>
          </ac:spMkLst>
        </pc:spChg>
        <pc:graphicFrameChg chg="mod">
          <ac:chgData name="Kory Thacher (APPS / POWERSHELL)" userId="995eb0f2-f21c-467c-a947-4f8fc26d0f2e" providerId="ADAL" clId="{90BE3EDE-F7E8-4C77-9892-0F40725CF1E6}" dt="2021-10-12T18:57:28.683" v="1033" actId="20577"/>
          <ac:graphicFrameMkLst>
            <pc:docMk/>
            <pc:sldMk cId="334500391" sldId="319"/>
            <ac:graphicFrameMk id="6" creationId="{A25422A3-EC71-4EF3-9DAE-3D8769C02872}"/>
          </ac:graphicFrameMkLst>
        </pc:graphicFrameChg>
      </pc:sldChg>
      <pc:sldChg chg="modSp add del mod">
        <pc:chgData name="Kory Thacher (APPS / POWERSHELL)" userId="995eb0f2-f21c-467c-a947-4f8fc26d0f2e" providerId="ADAL" clId="{90BE3EDE-F7E8-4C77-9892-0F40725CF1E6}" dt="2021-10-12T21:43:42.998" v="1170" actId="47"/>
        <pc:sldMkLst>
          <pc:docMk/>
          <pc:sldMk cId="121460751" sldId="320"/>
        </pc:sldMkLst>
        <pc:spChg chg="mod">
          <ac:chgData name="Kory Thacher (APPS / POWERSHELL)" userId="995eb0f2-f21c-467c-a947-4f8fc26d0f2e" providerId="ADAL" clId="{90BE3EDE-F7E8-4C77-9892-0F40725CF1E6}" dt="2021-10-12T17:54:54.065" v="74" actId="20577"/>
          <ac:spMkLst>
            <pc:docMk/>
            <pc:sldMk cId="121460751" sldId="320"/>
            <ac:spMk id="2" creationId="{00000000-0000-0000-0000-000000000000}"/>
          </ac:spMkLst>
        </pc:spChg>
        <pc:graphicFrameChg chg="mod">
          <ac:chgData name="Kory Thacher (APPS / POWERSHELL)" userId="995eb0f2-f21c-467c-a947-4f8fc26d0f2e" providerId="ADAL" clId="{90BE3EDE-F7E8-4C77-9892-0F40725CF1E6}" dt="2021-10-12T17:55:14.708" v="102" actId="20577"/>
          <ac:graphicFrameMkLst>
            <pc:docMk/>
            <pc:sldMk cId="121460751" sldId="320"/>
            <ac:graphicFrameMk id="6" creationId="{A25422A3-EC71-4EF3-9DAE-3D8769C02872}"/>
          </ac:graphicFrameMkLst>
        </pc:graphicFrameChg>
      </pc:sldChg>
      <pc:sldChg chg="modSp add del mod">
        <pc:chgData name="Kory Thacher (APPS / POWERSHELL)" userId="995eb0f2-f21c-467c-a947-4f8fc26d0f2e" providerId="ADAL" clId="{90BE3EDE-F7E8-4C77-9892-0F40725CF1E6}" dt="2021-10-14T18:53:09.924" v="6298" actId="47"/>
        <pc:sldMkLst>
          <pc:docMk/>
          <pc:sldMk cId="1009553674" sldId="354"/>
        </pc:sldMkLst>
        <pc:spChg chg="mod">
          <ac:chgData name="Kory Thacher (APPS / POWERSHELL)" userId="995eb0f2-f21c-467c-a947-4f8fc26d0f2e" providerId="ADAL" clId="{90BE3EDE-F7E8-4C77-9892-0F40725CF1E6}" dt="2021-10-12T17:59:28.280" v="230" actId="20577"/>
          <ac:spMkLst>
            <pc:docMk/>
            <pc:sldMk cId="1009553674" sldId="354"/>
            <ac:spMk id="2" creationId="{0D571322-9F37-477D-9B5B-EBF49D8B1DE4}"/>
          </ac:spMkLst>
        </pc:spChg>
        <pc:graphicFrameChg chg="mod">
          <ac:chgData name="Kory Thacher (APPS / POWERSHELL)" userId="995eb0f2-f21c-467c-a947-4f8fc26d0f2e" providerId="ADAL" clId="{90BE3EDE-F7E8-4C77-9892-0F40725CF1E6}" dt="2021-10-12T22:16:49.209" v="1863" actId="14100"/>
          <ac:graphicFrameMkLst>
            <pc:docMk/>
            <pc:sldMk cId="1009553674" sldId="354"/>
            <ac:graphicFrameMk id="7" creationId="{7368B303-CF16-4220-B838-8FA9A1A56F31}"/>
          </ac:graphicFrameMkLst>
        </pc:graphicFrameChg>
      </pc:sldChg>
      <pc:sldChg chg="addSp delSp modSp add del mod">
        <pc:chgData name="Kory Thacher (APPS / POWERSHELL)" userId="995eb0f2-f21c-467c-a947-4f8fc26d0f2e" providerId="ADAL" clId="{90BE3EDE-F7E8-4C77-9892-0F40725CF1E6}" dt="2021-10-14T18:53:15.240" v="6299" actId="47"/>
        <pc:sldMkLst>
          <pc:docMk/>
          <pc:sldMk cId="1480387363" sldId="355"/>
        </pc:sldMkLst>
        <pc:spChg chg="add del mod">
          <ac:chgData name="Kory Thacher (APPS / POWERSHELL)" userId="995eb0f2-f21c-467c-a947-4f8fc26d0f2e" providerId="ADAL" clId="{90BE3EDE-F7E8-4C77-9892-0F40725CF1E6}" dt="2021-10-12T18:00:36.143" v="239" actId="12084"/>
          <ac:spMkLst>
            <pc:docMk/>
            <pc:sldMk cId="1480387363" sldId="355"/>
            <ac:spMk id="5" creationId="{24F97AAA-0D78-45D9-940D-59F7D61B9BB7}"/>
          </ac:spMkLst>
        </pc:spChg>
        <pc:graphicFrameChg chg="add mod modGraphic">
          <ac:chgData name="Kory Thacher (APPS / POWERSHELL)" userId="995eb0f2-f21c-467c-a947-4f8fc26d0f2e" providerId="ADAL" clId="{90BE3EDE-F7E8-4C77-9892-0F40725CF1E6}" dt="2021-10-12T21:54:49.297" v="1606" actId="20577"/>
          <ac:graphicFrameMkLst>
            <pc:docMk/>
            <pc:sldMk cId="1480387363" sldId="355"/>
            <ac:graphicFrameMk id="4" creationId="{95950414-2535-4796-9B33-B31003ABEBF4}"/>
          </ac:graphicFrameMkLst>
        </pc:graphicFrameChg>
        <pc:graphicFrameChg chg="mod">
          <ac:chgData name="Kory Thacher (APPS / POWERSHELL)" userId="995eb0f2-f21c-467c-a947-4f8fc26d0f2e" providerId="ADAL" clId="{90BE3EDE-F7E8-4C77-9892-0F40725CF1E6}" dt="2021-10-12T21:59:40.516" v="1654" actId="20577"/>
          <ac:graphicFrameMkLst>
            <pc:docMk/>
            <pc:sldMk cId="1480387363" sldId="355"/>
            <ac:graphicFrameMk id="7" creationId="{7368B303-CF16-4220-B838-8FA9A1A56F31}"/>
          </ac:graphicFrameMkLst>
        </pc:graphicFrameChg>
      </pc:sldChg>
      <pc:sldChg chg="add del">
        <pc:chgData name="Kory Thacher (APPS / POWERSHELL)" userId="995eb0f2-f21c-467c-a947-4f8fc26d0f2e" providerId="ADAL" clId="{90BE3EDE-F7E8-4C77-9892-0F40725CF1E6}" dt="2021-10-12T17:59:44.305" v="232" actId="47"/>
        <pc:sldMkLst>
          <pc:docMk/>
          <pc:sldMk cId="1797007503" sldId="355"/>
        </pc:sldMkLst>
      </pc:sldChg>
      <pc:sldChg chg="delSp modSp add del mod ord">
        <pc:chgData name="Kory Thacher (APPS / POWERSHELL)" userId="995eb0f2-f21c-467c-a947-4f8fc26d0f2e" providerId="ADAL" clId="{90BE3EDE-F7E8-4C77-9892-0F40725CF1E6}" dt="2021-10-12T23:08:46.385" v="2862" actId="47"/>
        <pc:sldMkLst>
          <pc:docMk/>
          <pc:sldMk cId="1265404916" sldId="356"/>
        </pc:sldMkLst>
        <pc:spChg chg="mod">
          <ac:chgData name="Kory Thacher (APPS / POWERSHELL)" userId="995eb0f2-f21c-467c-a947-4f8fc26d0f2e" providerId="ADAL" clId="{90BE3EDE-F7E8-4C77-9892-0F40725CF1E6}" dt="2021-10-12T18:02:23.208" v="269" actId="20577"/>
          <ac:spMkLst>
            <pc:docMk/>
            <pc:sldMk cId="1265404916" sldId="356"/>
            <ac:spMk id="2" creationId="{0D571322-9F37-477D-9B5B-EBF49D8B1DE4}"/>
          </ac:spMkLst>
        </pc:spChg>
        <pc:graphicFrameChg chg="del">
          <ac:chgData name="Kory Thacher (APPS / POWERSHELL)" userId="995eb0f2-f21c-467c-a947-4f8fc26d0f2e" providerId="ADAL" clId="{90BE3EDE-F7E8-4C77-9892-0F40725CF1E6}" dt="2021-10-12T18:02:27.038" v="270" actId="478"/>
          <ac:graphicFrameMkLst>
            <pc:docMk/>
            <pc:sldMk cId="1265404916" sldId="356"/>
            <ac:graphicFrameMk id="4" creationId="{95950414-2535-4796-9B33-B31003ABEBF4}"/>
          </ac:graphicFrameMkLst>
        </pc:graphicFrameChg>
        <pc:graphicFrameChg chg="mod">
          <ac:chgData name="Kory Thacher (APPS / POWERSHELL)" userId="995eb0f2-f21c-467c-a947-4f8fc26d0f2e" providerId="ADAL" clId="{90BE3EDE-F7E8-4C77-9892-0F40725CF1E6}" dt="2021-10-12T23:06:41.493" v="2598" actId="14100"/>
          <ac:graphicFrameMkLst>
            <pc:docMk/>
            <pc:sldMk cId="1265404916" sldId="356"/>
            <ac:graphicFrameMk id="7" creationId="{7368B303-CF16-4220-B838-8FA9A1A56F31}"/>
          </ac:graphicFrameMkLst>
        </pc:graphicFrameChg>
      </pc:sldChg>
      <pc:sldChg chg="addSp delSp modSp add mod modNotesTx">
        <pc:chgData name="Kory Thacher (APPS / POWERSHELL)" userId="995eb0f2-f21c-467c-a947-4f8fc26d0f2e" providerId="ADAL" clId="{90BE3EDE-F7E8-4C77-9892-0F40725CF1E6}" dt="2021-10-14T18:32:10.888" v="6031" actId="20577"/>
        <pc:sldMkLst>
          <pc:docMk/>
          <pc:sldMk cId="3079498047" sldId="357"/>
        </pc:sldMkLst>
        <pc:spChg chg="mod">
          <ac:chgData name="Kory Thacher (APPS / POWERSHELL)" userId="995eb0f2-f21c-467c-a947-4f8fc26d0f2e" providerId="ADAL" clId="{90BE3EDE-F7E8-4C77-9892-0F40725CF1E6}" dt="2021-10-14T18:26:42.144" v="5630" actId="20577"/>
          <ac:spMkLst>
            <pc:docMk/>
            <pc:sldMk cId="3079498047" sldId="357"/>
            <ac:spMk id="2" creationId="{0D571322-9F37-477D-9B5B-EBF49D8B1DE4}"/>
          </ac:spMkLst>
        </pc:spChg>
        <pc:spChg chg="add mod">
          <ac:chgData name="Kory Thacher (APPS / POWERSHELL)" userId="995eb0f2-f21c-467c-a947-4f8fc26d0f2e" providerId="ADAL" clId="{90BE3EDE-F7E8-4C77-9892-0F40725CF1E6}" dt="2021-10-14T18:31:04.578" v="5912" actId="1076"/>
          <ac:spMkLst>
            <pc:docMk/>
            <pc:sldMk cId="3079498047" sldId="357"/>
            <ac:spMk id="4" creationId="{7B221272-F632-4C2B-B329-BA04392E4744}"/>
          </ac:spMkLst>
        </pc:spChg>
        <pc:spChg chg="add mod">
          <ac:chgData name="Kory Thacher (APPS / POWERSHELL)" userId="995eb0f2-f21c-467c-a947-4f8fc26d0f2e" providerId="ADAL" clId="{90BE3EDE-F7E8-4C77-9892-0F40725CF1E6}" dt="2021-10-14T18:27:02.852" v="5632" actId="1076"/>
          <ac:spMkLst>
            <pc:docMk/>
            <pc:sldMk cId="3079498047" sldId="357"/>
            <ac:spMk id="5" creationId="{47443753-F7B3-40E3-AA12-669AFAF222D3}"/>
          </ac:spMkLst>
        </pc:spChg>
        <pc:graphicFrameChg chg="del">
          <ac:chgData name="Kory Thacher (APPS / POWERSHELL)" userId="995eb0f2-f21c-467c-a947-4f8fc26d0f2e" providerId="ADAL" clId="{90BE3EDE-F7E8-4C77-9892-0F40725CF1E6}" dt="2021-10-12T18:03:46.506" v="334" actId="478"/>
          <ac:graphicFrameMkLst>
            <pc:docMk/>
            <pc:sldMk cId="3079498047" sldId="357"/>
            <ac:graphicFrameMk id="7" creationId="{7368B303-CF16-4220-B838-8FA9A1A56F31}"/>
          </ac:graphicFrameMkLst>
        </pc:graphicFrameChg>
      </pc:sldChg>
      <pc:sldChg chg="modSp add mod modNotesTx">
        <pc:chgData name="Kory Thacher (APPS / POWERSHELL)" userId="995eb0f2-f21c-467c-a947-4f8fc26d0f2e" providerId="ADAL" clId="{90BE3EDE-F7E8-4C77-9892-0F40725CF1E6}" dt="2021-10-25T22:56:31.202" v="9792" actId="20577"/>
        <pc:sldMkLst>
          <pc:docMk/>
          <pc:sldMk cId="91370200" sldId="358"/>
        </pc:sldMkLst>
        <pc:spChg chg="mod">
          <ac:chgData name="Kory Thacher (APPS / POWERSHELL)" userId="995eb0f2-f21c-467c-a947-4f8fc26d0f2e" providerId="ADAL" clId="{90BE3EDE-F7E8-4C77-9892-0F40725CF1E6}" dt="2021-10-12T18:08:41.544" v="518" actId="20577"/>
          <ac:spMkLst>
            <pc:docMk/>
            <pc:sldMk cId="91370200" sldId="358"/>
            <ac:spMk id="2" creationId="{0D571322-9F37-477D-9B5B-EBF49D8B1DE4}"/>
          </ac:spMkLst>
        </pc:spChg>
        <pc:graphicFrameChg chg="mod">
          <ac:chgData name="Kory Thacher (APPS / POWERSHELL)" userId="995eb0f2-f21c-467c-a947-4f8fc26d0f2e" providerId="ADAL" clId="{90BE3EDE-F7E8-4C77-9892-0F40725CF1E6}" dt="2021-10-12T18:08:44.122" v="519" actId="20577"/>
          <ac:graphicFrameMkLst>
            <pc:docMk/>
            <pc:sldMk cId="91370200" sldId="358"/>
            <ac:graphicFrameMk id="7" creationId="{7368B303-CF16-4220-B838-8FA9A1A56F31}"/>
          </ac:graphicFrameMkLst>
        </pc:graphicFrameChg>
      </pc:sldChg>
      <pc:sldChg chg="delSp modSp add del mod">
        <pc:chgData name="Kory Thacher (APPS / POWERSHELL)" userId="995eb0f2-f21c-467c-a947-4f8fc26d0f2e" providerId="ADAL" clId="{90BE3EDE-F7E8-4C77-9892-0F40725CF1E6}" dt="2021-10-12T22:31:05.112" v="2030" actId="47"/>
        <pc:sldMkLst>
          <pc:docMk/>
          <pc:sldMk cId="3608970705" sldId="359"/>
        </pc:sldMkLst>
        <pc:spChg chg="mod">
          <ac:chgData name="Kory Thacher (APPS / POWERSHELL)" userId="995eb0f2-f21c-467c-a947-4f8fc26d0f2e" providerId="ADAL" clId="{90BE3EDE-F7E8-4C77-9892-0F40725CF1E6}" dt="2021-10-12T18:06:29.247" v="436" actId="20577"/>
          <ac:spMkLst>
            <pc:docMk/>
            <pc:sldMk cId="3608970705" sldId="359"/>
            <ac:spMk id="2" creationId="{0D571322-9F37-477D-9B5B-EBF49D8B1DE4}"/>
          </ac:spMkLst>
        </pc:spChg>
        <pc:graphicFrameChg chg="del">
          <ac:chgData name="Kory Thacher (APPS / POWERSHELL)" userId="995eb0f2-f21c-467c-a947-4f8fc26d0f2e" providerId="ADAL" clId="{90BE3EDE-F7E8-4C77-9892-0F40725CF1E6}" dt="2021-10-12T18:06:32.346" v="437" actId="478"/>
          <ac:graphicFrameMkLst>
            <pc:docMk/>
            <pc:sldMk cId="3608970705" sldId="359"/>
            <ac:graphicFrameMk id="7" creationId="{7368B303-CF16-4220-B838-8FA9A1A56F31}"/>
          </ac:graphicFrameMkLst>
        </pc:graphicFrameChg>
      </pc:sldChg>
      <pc:sldChg chg="addSp modSp add del mod ord">
        <pc:chgData name="Kory Thacher (APPS / POWERSHELL)" userId="995eb0f2-f21c-467c-a947-4f8fc26d0f2e" providerId="ADAL" clId="{90BE3EDE-F7E8-4C77-9892-0F40725CF1E6}" dt="2021-10-12T22:58:43.769" v="2597" actId="47"/>
        <pc:sldMkLst>
          <pc:docMk/>
          <pc:sldMk cId="1741556669" sldId="360"/>
        </pc:sldMkLst>
        <pc:spChg chg="mod">
          <ac:chgData name="Kory Thacher (APPS / POWERSHELL)" userId="995eb0f2-f21c-467c-a947-4f8fc26d0f2e" providerId="ADAL" clId="{90BE3EDE-F7E8-4C77-9892-0F40725CF1E6}" dt="2021-10-12T22:48:21.652" v="2297" actId="20577"/>
          <ac:spMkLst>
            <pc:docMk/>
            <pc:sldMk cId="1741556669" sldId="360"/>
            <ac:spMk id="2" creationId="{0D571322-9F37-477D-9B5B-EBF49D8B1DE4}"/>
          </ac:spMkLst>
        </pc:spChg>
        <pc:spChg chg="add mod">
          <ac:chgData name="Kory Thacher (APPS / POWERSHELL)" userId="995eb0f2-f21c-467c-a947-4f8fc26d0f2e" providerId="ADAL" clId="{90BE3EDE-F7E8-4C77-9892-0F40725CF1E6}" dt="2021-10-12T22:52:53.406" v="2308" actId="14100"/>
          <ac:spMkLst>
            <pc:docMk/>
            <pc:sldMk cId="1741556669" sldId="360"/>
            <ac:spMk id="3" creationId="{693C9892-B118-48B9-8360-6167205C0EC0}"/>
          </ac:spMkLst>
        </pc:spChg>
      </pc:sldChg>
      <pc:sldChg chg="modSp add del mod">
        <pc:chgData name="Kory Thacher (APPS / POWERSHELL)" userId="995eb0f2-f21c-467c-a947-4f8fc26d0f2e" providerId="ADAL" clId="{90BE3EDE-F7E8-4C77-9892-0F40725CF1E6}" dt="2021-10-12T23:33:43.592" v="3719" actId="47"/>
        <pc:sldMkLst>
          <pc:docMk/>
          <pc:sldMk cId="2627446705" sldId="361"/>
        </pc:sldMkLst>
        <pc:spChg chg="mod">
          <ac:chgData name="Kory Thacher (APPS / POWERSHELL)" userId="995eb0f2-f21c-467c-a947-4f8fc26d0f2e" providerId="ADAL" clId="{90BE3EDE-F7E8-4C77-9892-0F40725CF1E6}" dt="2021-10-12T23:18:36.936" v="2951" actId="20577"/>
          <ac:spMkLst>
            <pc:docMk/>
            <pc:sldMk cId="2627446705" sldId="361"/>
            <ac:spMk id="2" creationId="{0D571322-9F37-477D-9B5B-EBF49D8B1DE4}"/>
          </ac:spMkLst>
        </pc:spChg>
        <pc:graphicFrameChg chg="mod">
          <ac:chgData name="Kory Thacher (APPS / POWERSHELL)" userId="995eb0f2-f21c-467c-a947-4f8fc26d0f2e" providerId="ADAL" clId="{90BE3EDE-F7E8-4C77-9892-0F40725CF1E6}" dt="2021-10-12T23:18:39.769" v="2952" actId="1076"/>
          <ac:graphicFrameMkLst>
            <pc:docMk/>
            <pc:sldMk cId="2627446705" sldId="361"/>
            <ac:graphicFrameMk id="7" creationId="{7368B303-CF16-4220-B838-8FA9A1A56F31}"/>
          </ac:graphicFrameMkLst>
        </pc:graphicFrameChg>
      </pc:sldChg>
      <pc:sldChg chg="modSp add mod addCm delCm">
        <pc:chgData name="Kory Thacher (APPS / POWERSHELL)" userId="995eb0f2-f21c-467c-a947-4f8fc26d0f2e" providerId="ADAL" clId="{90BE3EDE-F7E8-4C77-9892-0F40725CF1E6}" dt="2021-10-26T22:45:12.956" v="11112"/>
        <pc:sldMkLst>
          <pc:docMk/>
          <pc:sldMk cId="893044039" sldId="362"/>
        </pc:sldMkLst>
        <pc:spChg chg="mod">
          <ac:chgData name="Kory Thacher (APPS / POWERSHELL)" userId="995eb0f2-f21c-467c-a947-4f8fc26d0f2e" providerId="ADAL" clId="{90BE3EDE-F7E8-4C77-9892-0F40725CF1E6}" dt="2021-10-14T22:22:54.479" v="7202" actId="20577"/>
          <ac:spMkLst>
            <pc:docMk/>
            <pc:sldMk cId="893044039" sldId="362"/>
            <ac:spMk id="4" creationId="{9CBC6F63-616D-478D-A91D-8B071350BF64}"/>
          </ac:spMkLst>
        </pc:spChg>
      </pc:sldChg>
      <pc:sldChg chg="addSp delSp modSp add del mod">
        <pc:chgData name="Kory Thacher (APPS / POWERSHELL)" userId="995eb0f2-f21c-467c-a947-4f8fc26d0f2e" providerId="ADAL" clId="{90BE3EDE-F7E8-4C77-9892-0F40725CF1E6}" dt="2021-10-14T22:11:53.912" v="7111" actId="47"/>
        <pc:sldMkLst>
          <pc:docMk/>
          <pc:sldMk cId="2957751118" sldId="363"/>
        </pc:sldMkLst>
        <pc:spChg chg="mod">
          <ac:chgData name="Kory Thacher (APPS / POWERSHELL)" userId="995eb0f2-f21c-467c-a947-4f8fc26d0f2e" providerId="ADAL" clId="{90BE3EDE-F7E8-4C77-9892-0F40725CF1E6}" dt="2021-10-12T18:10:28.511" v="618" actId="20577"/>
          <ac:spMkLst>
            <pc:docMk/>
            <pc:sldMk cId="2957751118" sldId="363"/>
            <ac:spMk id="2" creationId="{0D571322-9F37-477D-9B5B-EBF49D8B1DE4}"/>
          </ac:spMkLst>
        </pc:spChg>
        <pc:spChg chg="add mod">
          <ac:chgData name="Kory Thacher (APPS / POWERSHELL)" userId="995eb0f2-f21c-467c-a947-4f8fc26d0f2e" providerId="ADAL" clId="{90BE3EDE-F7E8-4C77-9892-0F40725CF1E6}" dt="2021-10-12T23:37:05.980" v="4078" actId="14100"/>
          <ac:spMkLst>
            <pc:docMk/>
            <pc:sldMk cId="2957751118" sldId="363"/>
            <ac:spMk id="3" creationId="{E19CD371-34E2-46F3-9601-EB061A749FC2}"/>
          </ac:spMkLst>
        </pc:spChg>
        <pc:graphicFrameChg chg="del mod">
          <ac:chgData name="Kory Thacher (APPS / POWERSHELL)" userId="995eb0f2-f21c-467c-a947-4f8fc26d0f2e" providerId="ADAL" clId="{90BE3EDE-F7E8-4C77-9892-0F40725CF1E6}" dt="2021-10-12T23:35:14.738" v="3825" actId="11529"/>
          <ac:graphicFrameMkLst>
            <pc:docMk/>
            <pc:sldMk cId="2957751118" sldId="363"/>
            <ac:graphicFrameMk id="7" creationId="{7368B303-CF16-4220-B838-8FA9A1A56F31}"/>
          </ac:graphicFrameMkLst>
        </pc:graphicFrameChg>
      </pc:sldChg>
      <pc:sldChg chg="modSp add del mod">
        <pc:chgData name="Kory Thacher (APPS / POWERSHELL)" userId="995eb0f2-f21c-467c-a947-4f8fc26d0f2e" providerId="ADAL" clId="{90BE3EDE-F7E8-4C77-9892-0F40725CF1E6}" dt="2021-10-14T22:46:34.446" v="7292" actId="47"/>
        <pc:sldMkLst>
          <pc:docMk/>
          <pc:sldMk cId="2041815807" sldId="364"/>
        </pc:sldMkLst>
        <pc:spChg chg="mod">
          <ac:chgData name="Kory Thacher (APPS / POWERSHELL)" userId="995eb0f2-f21c-467c-a947-4f8fc26d0f2e" providerId="ADAL" clId="{90BE3EDE-F7E8-4C77-9892-0F40725CF1E6}" dt="2021-10-12T18:11:46.295" v="678" actId="20577"/>
          <ac:spMkLst>
            <pc:docMk/>
            <pc:sldMk cId="2041815807" sldId="364"/>
            <ac:spMk id="2" creationId="{0D571322-9F37-477D-9B5B-EBF49D8B1DE4}"/>
          </ac:spMkLst>
        </pc:spChg>
        <pc:graphicFrameChg chg="mod">
          <ac:chgData name="Kory Thacher (APPS / POWERSHELL)" userId="995eb0f2-f21c-467c-a947-4f8fc26d0f2e" providerId="ADAL" clId="{90BE3EDE-F7E8-4C77-9892-0F40725CF1E6}" dt="2021-10-12T18:17:21.195" v="820" actId="20577"/>
          <ac:graphicFrameMkLst>
            <pc:docMk/>
            <pc:sldMk cId="2041815807" sldId="364"/>
            <ac:graphicFrameMk id="7" creationId="{7368B303-CF16-4220-B838-8FA9A1A56F31}"/>
          </ac:graphicFrameMkLst>
        </pc:graphicFrameChg>
      </pc:sldChg>
      <pc:sldChg chg="modSp add mod modNotesTx">
        <pc:chgData name="Kory Thacher (APPS / POWERSHELL)" userId="995eb0f2-f21c-467c-a947-4f8fc26d0f2e" providerId="ADAL" clId="{90BE3EDE-F7E8-4C77-9892-0F40725CF1E6}" dt="2021-10-25T23:10:19.416" v="10430" actId="12"/>
        <pc:sldMkLst>
          <pc:docMk/>
          <pc:sldMk cId="2090656438" sldId="365"/>
        </pc:sldMkLst>
        <pc:spChg chg="mod">
          <ac:chgData name="Kory Thacher (APPS / POWERSHELL)" userId="995eb0f2-f21c-467c-a947-4f8fc26d0f2e" providerId="ADAL" clId="{90BE3EDE-F7E8-4C77-9892-0F40725CF1E6}" dt="2021-10-14T22:55:23.027" v="7342" actId="20577"/>
          <ac:spMkLst>
            <pc:docMk/>
            <pc:sldMk cId="2090656438" sldId="365"/>
            <ac:spMk id="2" creationId="{0D571322-9F37-477D-9B5B-EBF49D8B1DE4}"/>
          </ac:spMkLst>
        </pc:spChg>
        <pc:graphicFrameChg chg="mod modGraphic">
          <ac:chgData name="Kory Thacher (APPS / POWERSHELL)" userId="995eb0f2-f21c-467c-a947-4f8fc26d0f2e" providerId="ADAL" clId="{90BE3EDE-F7E8-4C77-9892-0F40725CF1E6}" dt="2021-10-25T22:19:31.488" v="7635" actId="403"/>
          <ac:graphicFrameMkLst>
            <pc:docMk/>
            <pc:sldMk cId="2090656438" sldId="365"/>
            <ac:graphicFrameMk id="7" creationId="{7368B303-CF16-4220-B838-8FA9A1A56F31}"/>
          </ac:graphicFrameMkLst>
        </pc:graphicFrameChg>
      </pc:sldChg>
      <pc:sldChg chg="addSp modSp add del mod ord">
        <pc:chgData name="Kory Thacher (APPS / POWERSHELL)" userId="995eb0f2-f21c-467c-a947-4f8fc26d0f2e" providerId="ADAL" clId="{90BE3EDE-F7E8-4C77-9892-0F40725CF1E6}" dt="2021-10-25T22:44:36.632" v="8212" actId="47"/>
        <pc:sldMkLst>
          <pc:docMk/>
          <pc:sldMk cId="232663344" sldId="366"/>
        </pc:sldMkLst>
        <pc:spChg chg="mod">
          <ac:chgData name="Kory Thacher (APPS / POWERSHELL)" userId="995eb0f2-f21c-467c-a947-4f8fc26d0f2e" providerId="ADAL" clId="{90BE3EDE-F7E8-4C77-9892-0F40725CF1E6}" dt="2021-10-12T18:20:45.582" v="910" actId="20577"/>
          <ac:spMkLst>
            <pc:docMk/>
            <pc:sldMk cId="232663344" sldId="366"/>
            <ac:spMk id="2" creationId="{0D571322-9F37-477D-9B5B-EBF49D8B1DE4}"/>
          </ac:spMkLst>
        </pc:spChg>
        <pc:spChg chg="add mod">
          <ac:chgData name="Kory Thacher (APPS / POWERSHELL)" userId="995eb0f2-f21c-467c-a947-4f8fc26d0f2e" providerId="ADAL" clId="{90BE3EDE-F7E8-4C77-9892-0F40725CF1E6}" dt="2021-10-25T22:22:07.740" v="7640" actId="6549"/>
          <ac:spMkLst>
            <pc:docMk/>
            <pc:sldMk cId="232663344" sldId="366"/>
            <ac:spMk id="4" creationId="{6BE92B9B-294D-4012-93B9-C8AB3A0259BE}"/>
          </ac:spMkLst>
        </pc:spChg>
        <pc:graphicFrameChg chg="mod">
          <ac:chgData name="Kory Thacher (APPS / POWERSHELL)" userId="995eb0f2-f21c-467c-a947-4f8fc26d0f2e" providerId="ADAL" clId="{90BE3EDE-F7E8-4C77-9892-0F40725CF1E6}" dt="2021-10-25T22:21:53.868" v="7637" actId="14100"/>
          <ac:graphicFrameMkLst>
            <pc:docMk/>
            <pc:sldMk cId="232663344" sldId="366"/>
            <ac:graphicFrameMk id="7" creationId="{7368B303-CF16-4220-B838-8FA9A1A56F31}"/>
          </ac:graphicFrameMkLst>
        </pc:graphicFrameChg>
      </pc:sldChg>
      <pc:sldChg chg="addSp modSp add del mod ord">
        <pc:chgData name="Kory Thacher (APPS / POWERSHELL)" userId="995eb0f2-f21c-467c-a947-4f8fc26d0f2e" providerId="ADAL" clId="{90BE3EDE-F7E8-4C77-9892-0F40725CF1E6}" dt="2021-10-12T21:43:42.998" v="1170" actId="47"/>
        <pc:sldMkLst>
          <pc:docMk/>
          <pc:sldMk cId="326579807" sldId="367"/>
        </pc:sldMkLst>
        <pc:graphicFrameChg chg="add mod">
          <ac:chgData name="Kory Thacher (APPS / POWERSHELL)" userId="995eb0f2-f21c-467c-a947-4f8fc26d0f2e" providerId="ADAL" clId="{90BE3EDE-F7E8-4C77-9892-0F40725CF1E6}" dt="2021-10-12T18:58:00.379" v="1035" actId="20577"/>
          <ac:graphicFrameMkLst>
            <pc:docMk/>
            <pc:sldMk cId="326579807" sldId="367"/>
            <ac:graphicFrameMk id="4" creationId="{14BFFC21-6822-4508-8FD5-E34A45A1FDEB}"/>
          </ac:graphicFrameMkLst>
        </pc:graphicFrameChg>
        <pc:graphicFrameChg chg="mod">
          <ac:chgData name="Kory Thacher (APPS / POWERSHELL)" userId="995eb0f2-f21c-467c-a947-4f8fc26d0f2e" providerId="ADAL" clId="{90BE3EDE-F7E8-4C77-9892-0F40725CF1E6}" dt="2021-10-12T18:56:36.472" v="986" actId="122"/>
          <ac:graphicFrameMkLst>
            <pc:docMk/>
            <pc:sldMk cId="326579807" sldId="367"/>
            <ac:graphicFrameMk id="6" creationId="{A25422A3-EC71-4EF3-9DAE-3D8769C02872}"/>
          </ac:graphicFrameMkLst>
        </pc:graphicFrameChg>
      </pc:sldChg>
      <pc:sldChg chg="modSp add del mod">
        <pc:chgData name="Kory Thacher (APPS / POWERSHELL)" userId="995eb0f2-f21c-467c-a947-4f8fc26d0f2e" providerId="ADAL" clId="{90BE3EDE-F7E8-4C77-9892-0F40725CF1E6}" dt="2021-10-12T21:44:50.217" v="1176" actId="47"/>
        <pc:sldMkLst>
          <pc:docMk/>
          <pc:sldMk cId="3266879144" sldId="368"/>
        </pc:sldMkLst>
        <pc:graphicFrameChg chg="mod">
          <ac:chgData name="Kory Thacher (APPS / POWERSHELL)" userId="995eb0f2-f21c-467c-a947-4f8fc26d0f2e" providerId="ADAL" clId="{90BE3EDE-F7E8-4C77-9892-0F40725CF1E6}" dt="2021-10-12T21:43:29.658" v="1169" actId="14100"/>
          <ac:graphicFrameMkLst>
            <pc:docMk/>
            <pc:sldMk cId="3266879144" sldId="368"/>
            <ac:graphicFrameMk id="4" creationId="{14BFFC21-6822-4508-8FD5-E34A45A1FDEB}"/>
          </ac:graphicFrameMkLst>
        </pc:graphicFrameChg>
        <pc:graphicFrameChg chg="mod">
          <ac:chgData name="Kory Thacher (APPS / POWERSHELL)" userId="995eb0f2-f21c-467c-a947-4f8fc26d0f2e" providerId="ADAL" clId="{90BE3EDE-F7E8-4C77-9892-0F40725CF1E6}" dt="2021-10-12T21:38:15.314" v="1075" actId="20577"/>
          <ac:graphicFrameMkLst>
            <pc:docMk/>
            <pc:sldMk cId="3266879144" sldId="368"/>
            <ac:graphicFrameMk id="6" creationId="{A25422A3-EC71-4EF3-9DAE-3D8769C02872}"/>
          </ac:graphicFrameMkLst>
        </pc:graphicFrameChg>
      </pc:sldChg>
      <pc:sldChg chg="modSp add mod modNotesTx">
        <pc:chgData name="Kory Thacher (APPS / POWERSHELL)" userId="995eb0f2-f21c-467c-a947-4f8fc26d0f2e" providerId="ADAL" clId="{90BE3EDE-F7E8-4C77-9892-0F40725CF1E6}" dt="2021-10-14T18:40:14.483" v="6244" actId="113"/>
        <pc:sldMkLst>
          <pc:docMk/>
          <pc:sldMk cId="673102809" sldId="369"/>
        </pc:sldMkLst>
        <pc:graphicFrameChg chg="mod">
          <ac:chgData name="Kory Thacher (APPS / POWERSHELL)" userId="995eb0f2-f21c-467c-a947-4f8fc26d0f2e" providerId="ADAL" clId="{90BE3EDE-F7E8-4C77-9892-0F40725CF1E6}" dt="2021-10-14T18:40:14.483" v="6244" actId="113"/>
          <ac:graphicFrameMkLst>
            <pc:docMk/>
            <pc:sldMk cId="673102809" sldId="369"/>
            <ac:graphicFrameMk id="4" creationId="{14BFFC21-6822-4508-8FD5-E34A45A1FDEB}"/>
          </ac:graphicFrameMkLst>
        </pc:graphicFrameChg>
      </pc:sldChg>
      <pc:sldChg chg="addSp delSp modSp new mod modNotesTx">
        <pc:chgData name="Kory Thacher (APPS / POWERSHELL)" userId="995eb0f2-f21c-467c-a947-4f8fc26d0f2e" providerId="ADAL" clId="{90BE3EDE-F7E8-4C77-9892-0F40725CF1E6}" dt="2021-10-14T18:42:24.713" v="6255" actId="1440"/>
        <pc:sldMkLst>
          <pc:docMk/>
          <pc:sldMk cId="4188363282" sldId="370"/>
        </pc:sldMkLst>
        <pc:spChg chg="mod">
          <ac:chgData name="Kory Thacher (APPS / POWERSHELL)" userId="995eb0f2-f21c-467c-a947-4f8fc26d0f2e" providerId="ADAL" clId="{90BE3EDE-F7E8-4C77-9892-0F40725CF1E6}" dt="2021-10-14T18:37:14.393" v="6075" actId="20577"/>
          <ac:spMkLst>
            <pc:docMk/>
            <pc:sldMk cId="4188363282" sldId="370"/>
            <ac:spMk id="2" creationId="{4822CAD8-5390-418D-A00A-9B5137261C8A}"/>
          </ac:spMkLst>
        </pc:spChg>
        <pc:spChg chg="del">
          <ac:chgData name="Kory Thacher (APPS / POWERSHELL)" userId="995eb0f2-f21c-467c-a947-4f8fc26d0f2e" providerId="ADAL" clId="{90BE3EDE-F7E8-4C77-9892-0F40725CF1E6}" dt="2021-10-12T21:46:05.138" v="1179" actId="478"/>
          <ac:spMkLst>
            <pc:docMk/>
            <pc:sldMk cId="4188363282" sldId="370"/>
            <ac:spMk id="3" creationId="{C3735B65-5920-49C8-BD73-5938B566CFE6}"/>
          </ac:spMkLst>
        </pc:spChg>
        <pc:spChg chg="del mod">
          <ac:chgData name="Kory Thacher (APPS / POWERSHELL)" userId="995eb0f2-f21c-467c-a947-4f8fc26d0f2e" providerId="ADAL" clId="{90BE3EDE-F7E8-4C77-9892-0F40725CF1E6}" dt="2021-10-12T21:46:57.315" v="1239" actId="931"/>
          <ac:spMkLst>
            <pc:docMk/>
            <pc:sldMk cId="4188363282" sldId="370"/>
            <ac:spMk id="4" creationId="{04DF961D-0464-4E47-ACE5-0DB5AFC1AA42}"/>
          </ac:spMkLst>
        </pc:spChg>
        <pc:spChg chg="add del mod">
          <ac:chgData name="Kory Thacher (APPS / POWERSHELL)" userId="995eb0f2-f21c-467c-a947-4f8fc26d0f2e" providerId="ADAL" clId="{90BE3EDE-F7E8-4C77-9892-0F40725CF1E6}" dt="2021-10-14T18:36:57.185" v="6057" actId="478"/>
          <ac:spMkLst>
            <pc:docMk/>
            <pc:sldMk cId="4188363282" sldId="370"/>
            <ac:spMk id="4" creationId="{5C01C8E3-9C9E-4AD5-92AB-ADE05224F021}"/>
          </ac:spMkLst>
        </pc:spChg>
        <pc:picChg chg="add del mod">
          <ac:chgData name="Kory Thacher (APPS / POWERSHELL)" userId="995eb0f2-f21c-467c-a947-4f8fc26d0f2e" providerId="ADAL" clId="{90BE3EDE-F7E8-4C77-9892-0F40725CF1E6}" dt="2021-10-14T18:36:54.286" v="6056" actId="478"/>
          <ac:picMkLst>
            <pc:docMk/>
            <pc:sldMk cId="4188363282" sldId="370"/>
            <ac:picMk id="6" creationId="{4BF019CA-10CF-4EC3-A536-996EAFF6C1DE}"/>
          </ac:picMkLst>
        </pc:picChg>
        <pc:picChg chg="add mod">
          <ac:chgData name="Kory Thacher (APPS / POWERSHELL)" userId="995eb0f2-f21c-467c-a947-4f8fc26d0f2e" providerId="ADAL" clId="{90BE3EDE-F7E8-4C77-9892-0F40725CF1E6}" dt="2021-10-14T18:42:18.433" v="6254" actId="1440"/>
          <ac:picMkLst>
            <pc:docMk/>
            <pc:sldMk cId="4188363282" sldId="370"/>
            <ac:picMk id="7" creationId="{A7460838-613A-40B8-A633-3067B35AB8D0}"/>
          </ac:picMkLst>
        </pc:picChg>
        <pc:picChg chg="add mod">
          <ac:chgData name="Kory Thacher (APPS / POWERSHELL)" userId="995eb0f2-f21c-467c-a947-4f8fc26d0f2e" providerId="ADAL" clId="{90BE3EDE-F7E8-4C77-9892-0F40725CF1E6}" dt="2021-10-14T18:42:24.713" v="6255" actId="1440"/>
          <ac:picMkLst>
            <pc:docMk/>
            <pc:sldMk cId="4188363282" sldId="370"/>
            <ac:picMk id="8" creationId="{35F7D9A6-2510-450D-BD37-9CDFA01F2AC8}"/>
          </ac:picMkLst>
        </pc:picChg>
      </pc:sldChg>
      <pc:sldChg chg="modSp add del">
        <pc:chgData name="Kory Thacher (APPS / POWERSHELL)" userId="995eb0f2-f21c-467c-a947-4f8fc26d0f2e" providerId="ADAL" clId="{90BE3EDE-F7E8-4C77-9892-0F40725CF1E6}" dt="2021-10-14T18:54:12.470" v="6302" actId="47"/>
        <pc:sldMkLst>
          <pc:docMk/>
          <pc:sldMk cId="1079283031" sldId="371"/>
        </pc:sldMkLst>
        <pc:graphicFrameChg chg="mod">
          <ac:chgData name="Kory Thacher (APPS / POWERSHELL)" userId="995eb0f2-f21c-467c-a947-4f8fc26d0f2e" providerId="ADAL" clId="{90BE3EDE-F7E8-4C77-9892-0F40725CF1E6}" dt="2021-10-14T18:53:34.038" v="6301"/>
          <ac:graphicFrameMkLst>
            <pc:docMk/>
            <pc:sldMk cId="1079283031" sldId="371"/>
            <ac:graphicFrameMk id="7" creationId="{7368B303-CF16-4220-B838-8FA9A1A56F31}"/>
          </ac:graphicFrameMkLst>
        </pc:graphicFrameChg>
      </pc:sldChg>
      <pc:sldChg chg="modSp add del">
        <pc:chgData name="Kory Thacher (APPS / POWERSHELL)" userId="995eb0f2-f21c-467c-a947-4f8fc26d0f2e" providerId="ADAL" clId="{90BE3EDE-F7E8-4C77-9892-0F40725CF1E6}" dt="2021-10-12T22:17:08.973" v="1864" actId="47"/>
        <pc:sldMkLst>
          <pc:docMk/>
          <pc:sldMk cId="2187918841" sldId="372"/>
        </pc:sldMkLst>
        <pc:graphicFrameChg chg="mod">
          <ac:chgData name="Kory Thacher (APPS / POWERSHELL)" userId="995eb0f2-f21c-467c-a947-4f8fc26d0f2e" providerId="ADAL" clId="{90BE3EDE-F7E8-4C77-9892-0F40725CF1E6}" dt="2021-10-12T22:00:28.949" v="1655" actId="13782"/>
          <ac:graphicFrameMkLst>
            <pc:docMk/>
            <pc:sldMk cId="2187918841" sldId="372"/>
            <ac:graphicFrameMk id="7" creationId="{7368B303-CF16-4220-B838-8FA9A1A56F31}"/>
          </ac:graphicFrameMkLst>
        </pc:graphicFrameChg>
      </pc:sldChg>
      <pc:sldChg chg="modSp add mod modNotesTx">
        <pc:chgData name="Kory Thacher (APPS / POWERSHELL)" userId="995eb0f2-f21c-467c-a947-4f8fc26d0f2e" providerId="ADAL" clId="{90BE3EDE-F7E8-4C77-9892-0F40725CF1E6}" dt="2021-10-25T22:51:18.382" v="8527" actId="20577"/>
        <pc:sldMkLst>
          <pc:docMk/>
          <pc:sldMk cId="2819570987" sldId="373"/>
        </pc:sldMkLst>
        <pc:graphicFrameChg chg="mod">
          <ac:chgData name="Kory Thacher (APPS / POWERSHELL)" userId="995eb0f2-f21c-467c-a947-4f8fc26d0f2e" providerId="ADAL" clId="{90BE3EDE-F7E8-4C77-9892-0F40725CF1E6}" dt="2021-10-14T18:54:20.049" v="6303" actId="1076"/>
          <ac:graphicFrameMkLst>
            <pc:docMk/>
            <pc:sldMk cId="2819570987" sldId="373"/>
            <ac:graphicFrameMk id="4" creationId="{95950414-2535-4796-9B33-B31003ABEBF4}"/>
          </ac:graphicFrameMkLst>
        </pc:graphicFrameChg>
        <pc:graphicFrameChg chg="mod">
          <ac:chgData name="Kory Thacher (APPS / POWERSHELL)" userId="995eb0f2-f21c-467c-a947-4f8fc26d0f2e" providerId="ADAL" clId="{90BE3EDE-F7E8-4C77-9892-0F40725CF1E6}" dt="2021-10-14T18:52:21.882" v="6297" actId="14100"/>
          <ac:graphicFrameMkLst>
            <pc:docMk/>
            <pc:sldMk cId="2819570987" sldId="373"/>
            <ac:graphicFrameMk id="7" creationId="{7368B303-CF16-4220-B838-8FA9A1A56F31}"/>
          </ac:graphicFrameMkLst>
        </pc:graphicFrameChg>
      </pc:sldChg>
      <pc:sldChg chg="modSp add del mod">
        <pc:chgData name="Kory Thacher (APPS / POWERSHELL)" userId="995eb0f2-f21c-467c-a947-4f8fc26d0f2e" providerId="ADAL" clId="{90BE3EDE-F7E8-4C77-9892-0F40725CF1E6}" dt="2021-10-14T18:45:57.367" v="6271" actId="47"/>
        <pc:sldMkLst>
          <pc:docMk/>
          <pc:sldMk cId="615095236" sldId="374"/>
        </pc:sldMkLst>
        <pc:graphicFrameChg chg="mod">
          <ac:chgData name="Kory Thacher (APPS / POWERSHELL)" userId="995eb0f2-f21c-467c-a947-4f8fc26d0f2e" providerId="ADAL" clId="{90BE3EDE-F7E8-4C77-9892-0F40725CF1E6}" dt="2021-10-14T18:45:39.799" v="6270"/>
          <ac:graphicFrameMkLst>
            <pc:docMk/>
            <pc:sldMk cId="615095236" sldId="374"/>
            <ac:graphicFrameMk id="7" creationId="{7368B303-CF16-4220-B838-8FA9A1A56F31}"/>
          </ac:graphicFrameMkLst>
        </pc:graphicFrameChg>
      </pc:sldChg>
      <pc:sldChg chg="modSp add del">
        <pc:chgData name="Kory Thacher (APPS / POWERSHELL)" userId="995eb0f2-f21c-467c-a947-4f8fc26d0f2e" providerId="ADAL" clId="{90BE3EDE-F7E8-4C77-9892-0F40725CF1E6}" dt="2021-10-14T18:45:57.367" v="6271" actId="47"/>
        <pc:sldMkLst>
          <pc:docMk/>
          <pc:sldMk cId="1117137903" sldId="375"/>
        </pc:sldMkLst>
        <pc:graphicFrameChg chg="mod">
          <ac:chgData name="Kory Thacher (APPS / POWERSHELL)" userId="995eb0f2-f21c-467c-a947-4f8fc26d0f2e" providerId="ADAL" clId="{90BE3EDE-F7E8-4C77-9892-0F40725CF1E6}" dt="2021-10-12T22:13:41.871" v="1847" actId="255"/>
          <ac:graphicFrameMkLst>
            <pc:docMk/>
            <pc:sldMk cId="1117137903" sldId="375"/>
            <ac:graphicFrameMk id="7" creationId="{7368B303-CF16-4220-B838-8FA9A1A56F31}"/>
          </ac:graphicFrameMkLst>
        </pc:graphicFrameChg>
      </pc:sldChg>
      <pc:sldChg chg="modSp del">
        <pc:chgData name="Kory Thacher (APPS / POWERSHELL)" userId="995eb0f2-f21c-467c-a947-4f8fc26d0f2e" providerId="ADAL" clId="{90BE3EDE-F7E8-4C77-9892-0F40725CF1E6}" dt="2021-10-12T22:09:42.408" v="1790" actId="47"/>
        <pc:sldMkLst>
          <pc:docMk/>
          <pc:sldMk cId="1915336147" sldId="375"/>
        </pc:sldMkLst>
        <pc:graphicFrameChg chg="mod">
          <ac:chgData name="Kory Thacher (APPS / POWERSHELL)" userId="995eb0f2-f21c-467c-a947-4f8fc26d0f2e" providerId="ADAL" clId="{90BE3EDE-F7E8-4C77-9892-0F40725CF1E6}" dt="2021-10-12T22:09:34.051" v="1789"/>
          <ac:graphicFrameMkLst>
            <pc:docMk/>
            <pc:sldMk cId="1915336147" sldId="375"/>
            <ac:graphicFrameMk id="7" creationId="{7368B303-CF16-4220-B838-8FA9A1A56F31}"/>
          </ac:graphicFrameMkLst>
        </pc:graphicFrameChg>
      </pc:sldChg>
      <pc:sldChg chg="addSp modSp add del mod">
        <pc:chgData name="Kory Thacher (APPS / POWERSHELL)" userId="995eb0f2-f21c-467c-a947-4f8fc26d0f2e" providerId="ADAL" clId="{90BE3EDE-F7E8-4C77-9892-0F40725CF1E6}" dt="2021-10-14T18:45:57.367" v="6271" actId="47"/>
        <pc:sldMkLst>
          <pc:docMk/>
          <pc:sldMk cId="2241866853" sldId="376"/>
        </pc:sldMkLst>
        <pc:graphicFrameChg chg="mod">
          <ac:chgData name="Kory Thacher (APPS / POWERSHELL)" userId="995eb0f2-f21c-467c-a947-4f8fc26d0f2e" providerId="ADAL" clId="{90BE3EDE-F7E8-4C77-9892-0F40725CF1E6}" dt="2021-10-12T22:14:38.862" v="1853"/>
          <ac:graphicFrameMkLst>
            <pc:docMk/>
            <pc:sldMk cId="2241866853" sldId="376"/>
            <ac:graphicFrameMk id="7" creationId="{7368B303-CF16-4220-B838-8FA9A1A56F31}"/>
          </ac:graphicFrameMkLst>
        </pc:graphicFrameChg>
        <pc:picChg chg="add mod">
          <ac:chgData name="Kory Thacher (APPS / POWERSHELL)" userId="995eb0f2-f21c-467c-a947-4f8fc26d0f2e" providerId="ADAL" clId="{90BE3EDE-F7E8-4C77-9892-0F40725CF1E6}" dt="2021-10-12T22:14:59.204" v="1858" actId="1076"/>
          <ac:picMkLst>
            <pc:docMk/>
            <pc:sldMk cId="2241866853" sldId="376"/>
            <ac:picMk id="5" creationId="{C77F7E95-FEE4-4DE1-B88A-0065A7D2BB85}"/>
          </ac:picMkLst>
        </pc:picChg>
      </pc:sldChg>
      <pc:sldChg chg="addSp modSp add del mod ord modNotesTx">
        <pc:chgData name="Kory Thacher (APPS / POWERSHELL)" userId="995eb0f2-f21c-467c-a947-4f8fc26d0f2e" providerId="ADAL" clId="{90BE3EDE-F7E8-4C77-9892-0F40725CF1E6}" dt="2021-10-14T18:56:22.772" v="6317" actId="47"/>
        <pc:sldMkLst>
          <pc:docMk/>
          <pc:sldMk cId="1623698614" sldId="377"/>
        </pc:sldMkLst>
        <pc:spChg chg="mod">
          <ac:chgData name="Kory Thacher (APPS / POWERSHELL)" userId="995eb0f2-f21c-467c-a947-4f8fc26d0f2e" providerId="ADAL" clId="{90BE3EDE-F7E8-4C77-9892-0F40725CF1E6}" dt="2021-10-12T22:30:44.280" v="2027" actId="1076"/>
          <ac:spMkLst>
            <pc:docMk/>
            <pc:sldMk cId="1623698614" sldId="377"/>
            <ac:spMk id="2" creationId="{0D571322-9F37-477D-9B5B-EBF49D8B1DE4}"/>
          </ac:spMkLst>
        </pc:spChg>
        <pc:graphicFrameChg chg="add mod">
          <ac:chgData name="Kory Thacher (APPS / POWERSHELL)" userId="995eb0f2-f21c-467c-a947-4f8fc26d0f2e" providerId="ADAL" clId="{90BE3EDE-F7E8-4C77-9892-0F40725CF1E6}" dt="2021-10-14T18:55:03.275" v="6307" actId="20577"/>
          <ac:graphicFrameMkLst>
            <pc:docMk/>
            <pc:sldMk cId="1623698614" sldId="377"/>
            <ac:graphicFrameMk id="3" creationId="{7A95B8D9-10B5-4AF2-AAE1-B4F779365041}"/>
          </ac:graphicFrameMkLst>
        </pc:graphicFrameChg>
        <pc:picChg chg="mod">
          <ac:chgData name="Kory Thacher (APPS / POWERSHELL)" userId="995eb0f2-f21c-467c-a947-4f8fc26d0f2e" providerId="ADAL" clId="{90BE3EDE-F7E8-4C77-9892-0F40725CF1E6}" dt="2021-10-12T22:41:06.696" v="2270" actId="1440"/>
          <ac:picMkLst>
            <pc:docMk/>
            <pc:sldMk cId="1623698614" sldId="377"/>
            <ac:picMk id="5" creationId="{8FFE7036-C1C1-4594-B17F-488492D48809}"/>
          </ac:picMkLst>
        </pc:picChg>
      </pc:sldChg>
      <pc:sldChg chg="modSp del mod modNotesTx">
        <pc:chgData name="Kory Thacher (APPS / POWERSHELL)" userId="995eb0f2-f21c-467c-a947-4f8fc26d0f2e" providerId="ADAL" clId="{90BE3EDE-F7E8-4C77-9892-0F40725CF1E6}" dt="2021-10-12T22:58:43.769" v="2597" actId="47"/>
        <pc:sldMkLst>
          <pc:docMk/>
          <pc:sldMk cId="749216288" sldId="378"/>
        </pc:sldMkLst>
        <pc:spChg chg="mod">
          <ac:chgData name="Kory Thacher (APPS / POWERSHELL)" userId="995eb0f2-f21c-467c-a947-4f8fc26d0f2e" providerId="ADAL" clId="{90BE3EDE-F7E8-4C77-9892-0F40725CF1E6}" dt="2021-10-12T22:55:01.547" v="2326" actId="20577"/>
          <ac:spMkLst>
            <pc:docMk/>
            <pc:sldMk cId="749216288" sldId="378"/>
            <ac:spMk id="3" creationId="{693C9892-B118-48B9-8360-6167205C0EC0}"/>
          </ac:spMkLst>
        </pc:spChg>
      </pc:sldChg>
      <pc:sldChg chg="add">
        <pc:chgData name="Kory Thacher (APPS / POWERSHELL)" userId="995eb0f2-f21c-467c-a947-4f8fc26d0f2e" providerId="ADAL" clId="{90BE3EDE-F7E8-4C77-9892-0F40725CF1E6}" dt="2021-10-12T22:52:57.133" v="2309"/>
        <pc:sldMkLst>
          <pc:docMk/>
          <pc:sldMk cId="2563908723" sldId="378"/>
        </pc:sldMkLst>
      </pc:sldChg>
      <pc:sldChg chg="add del">
        <pc:chgData name="Kory Thacher (APPS / POWERSHELL)" userId="995eb0f2-f21c-467c-a947-4f8fc26d0f2e" providerId="ADAL" clId="{90BE3EDE-F7E8-4C77-9892-0F40725CF1E6}" dt="2021-10-12T22:28:44.922" v="2000" actId="47"/>
        <pc:sldMkLst>
          <pc:docMk/>
          <pc:sldMk cId="4275667066" sldId="378"/>
        </pc:sldMkLst>
      </pc:sldChg>
      <pc:sldChg chg="modSp del mod">
        <pc:chgData name="Kory Thacher (APPS / POWERSHELL)" userId="995eb0f2-f21c-467c-a947-4f8fc26d0f2e" providerId="ADAL" clId="{90BE3EDE-F7E8-4C77-9892-0F40725CF1E6}" dt="2021-10-12T22:58:43.769" v="2597" actId="47"/>
        <pc:sldMkLst>
          <pc:docMk/>
          <pc:sldMk cId="2563908723" sldId="379"/>
        </pc:sldMkLst>
        <pc:spChg chg="mod">
          <ac:chgData name="Kory Thacher (APPS / POWERSHELL)" userId="995eb0f2-f21c-467c-a947-4f8fc26d0f2e" providerId="ADAL" clId="{90BE3EDE-F7E8-4C77-9892-0F40725CF1E6}" dt="2021-10-12T22:53:55.220" v="2322" actId="14100"/>
          <ac:spMkLst>
            <pc:docMk/>
            <pc:sldMk cId="2563908723" sldId="379"/>
            <ac:spMk id="3" creationId="{693C9892-B118-48B9-8360-6167205C0EC0}"/>
          </ac:spMkLst>
        </pc:spChg>
        <pc:picChg chg="mod">
          <ac:chgData name="Kory Thacher (APPS / POWERSHELL)" userId="995eb0f2-f21c-467c-a947-4f8fc26d0f2e" providerId="ADAL" clId="{90BE3EDE-F7E8-4C77-9892-0F40725CF1E6}" dt="2021-10-12T22:57:12.764" v="2592" actId="14100"/>
          <ac:picMkLst>
            <pc:docMk/>
            <pc:sldMk cId="2563908723" sldId="379"/>
            <ac:picMk id="5" creationId="{F72A3F92-FF92-4F48-84E6-0DE04513D166}"/>
          </ac:picMkLst>
        </pc:picChg>
      </pc:sldChg>
      <pc:sldChg chg="modSp add mod modNotesTx">
        <pc:chgData name="Kory Thacher (APPS / POWERSHELL)" userId="995eb0f2-f21c-467c-a947-4f8fc26d0f2e" providerId="ADAL" clId="{90BE3EDE-F7E8-4C77-9892-0F40725CF1E6}" dt="2021-10-14T17:35:07.253" v="4896" actId="20577"/>
        <pc:sldMkLst>
          <pc:docMk/>
          <pc:sldMk cId="1700209052" sldId="380"/>
        </pc:sldMkLst>
        <pc:picChg chg="mod">
          <ac:chgData name="Kory Thacher (APPS / POWERSHELL)" userId="995eb0f2-f21c-467c-a947-4f8fc26d0f2e" providerId="ADAL" clId="{90BE3EDE-F7E8-4C77-9892-0F40725CF1E6}" dt="2021-10-12T22:57:54.758" v="2596" actId="1440"/>
          <ac:picMkLst>
            <pc:docMk/>
            <pc:sldMk cId="1700209052" sldId="380"/>
            <ac:picMk id="5" creationId="{A72D99E7-271D-4424-A0C0-6C114877A0C7}"/>
          </ac:picMkLst>
        </pc:picChg>
        <pc:picChg chg="mod">
          <ac:chgData name="Kory Thacher (APPS / POWERSHELL)" userId="995eb0f2-f21c-467c-a947-4f8fc26d0f2e" providerId="ADAL" clId="{90BE3EDE-F7E8-4C77-9892-0F40725CF1E6}" dt="2021-10-14T17:34:47.058" v="4857" actId="1440"/>
          <ac:picMkLst>
            <pc:docMk/>
            <pc:sldMk cId="1700209052" sldId="380"/>
            <ac:picMk id="7" creationId="{B67633C9-E509-4BC3-B365-FB454723F047}"/>
          </ac:picMkLst>
        </pc:picChg>
      </pc:sldChg>
      <pc:sldChg chg="modSp add mod ord modShow addCm">
        <pc:chgData name="Kory Thacher (APPS / POWERSHELL)" userId="995eb0f2-f21c-467c-a947-4f8fc26d0f2e" providerId="ADAL" clId="{90BE3EDE-F7E8-4C77-9892-0F40725CF1E6}" dt="2021-10-14T18:12:11.462" v="5357" actId="113"/>
        <pc:sldMkLst>
          <pc:docMk/>
          <pc:sldMk cId="3367862728" sldId="381"/>
        </pc:sldMkLst>
        <pc:graphicFrameChg chg="mod">
          <ac:chgData name="Kory Thacher (APPS / POWERSHELL)" userId="995eb0f2-f21c-467c-a947-4f8fc26d0f2e" providerId="ADAL" clId="{90BE3EDE-F7E8-4C77-9892-0F40725CF1E6}" dt="2021-10-14T18:12:11.462" v="5357" actId="113"/>
          <ac:graphicFrameMkLst>
            <pc:docMk/>
            <pc:sldMk cId="3367862728" sldId="381"/>
            <ac:graphicFrameMk id="7" creationId="{7368B303-CF16-4220-B838-8FA9A1A56F31}"/>
          </ac:graphicFrameMkLst>
        </pc:graphicFrameChg>
      </pc:sldChg>
      <pc:sldChg chg="modSp add del mod">
        <pc:chgData name="Kory Thacher (APPS / POWERSHELL)" userId="995eb0f2-f21c-467c-a947-4f8fc26d0f2e" providerId="ADAL" clId="{90BE3EDE-F7E8-4C77-9892-0F40725CF1E6}" dt="2021-10-14T18:05:13.434" v="5286" actId="47"/>
        <pc:sldMkLst>
          <pc:docMk/>
          <pc:sldMk cId="4078681616" sldId="382"/>
        </pc:sldMkLst>
        <pc:graphicFrameChg chg="mod modGraphic">
          <ac:chgData name="Kory Thacher (APPS / POWERSHELL)" userId="995eb0f2-f21c-467c-a947-4f8fc26d0f2e" providerId="ADAL" clId="{90BE3EDE-F7E8-4C77-9892-0F40725CF1E6}" dt="2021-10-14T18:05:09.474" v="5285" actId="20577"/>
          <ac:graphicFrameMkLst>
            <pc:docMk/>
            <pc:sldMk cId="4078681616" sldId="382"/>
            <ac:graphicFrameMk id="7" creationId="{7368B303-CF16-4220-B838-8FA9A1A56F31}"/>
          </ac:graphicFrameMkLst>
        </pc:graphicFrameChg>
      </pc:sldChg>
      <pc:sldChg chg="modSp add del">
        <pc:chgData name="Kory Thacher (APPS / POWERSHELL)" userId="995eb0f2-f21c-467c-a947-4f8fc26d0f2e" providerId="ADAL" clId="{90BE3EDE-F7E8-4C77-9892-0F40725CF1E6}" dt="2021-10-14T17:43:32.933" v="4931" actId="47"/>
        <pc:sldMkLst>
          <pc:docMk/>
          <pc:sldMk cId="1170715260" sldId="383"/>
        </pc:sldMkLst>
        <pc:graphicFrameChg chg="mod">
          <ac:chgData name="Kory Thacher (APPS / POWERSHELL)" userId="995eb0f2-f21c-467c-a947-4f8fc26d0f2e" providerId="ADAL" clId="{90BE3EDE-F7E8-4C77-9892-0F40725CF1E6}" dt="2021-10-12T23:10:22.441" v="2903" actId="13782"/>
          <ac:graphicFrameMkLst>
            <pc:docMk/>
            <pc:sldMk cId="1170715260" sldId="383"/>
            <ac:graphicFrameMk id="7" creationId="{7368B303-CF16-4220-B838-8FA9A1A56F31}"/>
          </ac:graphicFrameMkLst>
        </pc:graphicFrameChg>
      </pc:sldChg>
      <pc:sldChg chg="modSp add del">
        <pc:chgData name="Kory Thacher (APPS / POWERSHELL)" userId="995eb0f2-f21c-467c-a947-4f8fc26d0f2e" providerId="ADAL" clId="{90BE3EDE-F7E8-4C77-9892-0F40725CF1E6}" dt="2021-10-14T17:57:13.959" v="5074" actId="47"/>
        <pc:sldMkLst>
          <pc:docMk/>
          <pc:sldMk cId="295698953" sldId="384"/>
        </pc:sldMkLst>
        <pc:graphicFrameChg chg="mod">
          <ac:chgData name="Kory Thacher (APPS / POWERSHELL)" userId="995eb0f2-f21c-467c-a947-4f8fc26d0f2e" providerId="ADAL" clId="{90BE3EDE-F7E8-4C77-9892-0F40725CF1E6}" dt="2021-10-14T17:57:03.030" v="5073"/>
          <ac:graphicFrameMkLst>
            <pc:docMk/>
            <pc:sldMk cId="295698953" sldId="384"/>
            <ac:graphicFrameMk id="7" creationId="{7368B303-CF16-4220-B838-8FA9A1A56F31}"/>
          </ac:graphicFrameMkLst>
        </pc:graphicFrameChg>
      </pc:sldChg>
      <pc:sldChg chg="modSp add del">
        <pc:chgData name="Kory Thacher (APPS / POWERSHELL)" userId="995eb0f2-f21c-467c-a947-4f8fc26d0f2e" providerId="ADAL" clId="{90BE3EDE-F7E8-4C77-9892-0F40725CF1E6}" dt="2021-10-14T17:57:13.959" v="5074" actId="47"/>
        <pc:sldMkLst>
          <pc:docMk/>
          <pc:sldMk cId="3218048912" sldId="385"/>
        </pc:sldMkLst>
        <pc:graphicFrameChg chg="mod">
          <ac:chgData name="Kory Thacher (APPS / POWERSHELL)" userId="995eb0f2-f21c-467c-a947-4f8fc26d0f2e" providerId="ADAL" clId="{90BE3EDE-F7E8-4C77-9892-0F40725CF1E6}" dt="2021-10-12T23:11:13.370" v="2920" actId="20577"/>
          <ac:graphicFrameMkLst>
            <pc:docMk/>
            <pc:sldMk cId="3218048912" sldId="385"/>
            <ac:graphicFrameMk id="7" creationId="{7368B303-CF16-4220-B838-8FA9A1A56F31}"/>
          </ac:graphicFrameMkLst>
        </pc:graphicFrameChg>
      </pc:sldChg>
      <pc:sldChg chg="modSp add del mod ord">
        <pc:chgData name="Kory Thacher (APPS / POWERSHELL)" userId="995eb0f2-f21c-467c-a947-4f8fc26d0f2e" providerId="ADAL" clId="{90BE3EDE-F7E8-4C77-9892-0F40725CF1E6}" dt="2021-10-14T18:02:55.142" v="5264" actId="47"/>
        <pc:sldMkLst>
          <pc:docMk/>
          <pc:sldMk cId="2825466284" sldId="386"/>
        </pc:sldMkLst>
        <pc:graphicFrameChg chg="mod">
          <ac:chgData name="Kory Thacher (APPS / POWERSHELL)" userId="995eb0f2-f21c-467c-a947-4f8fc26d0f2e" providerId="ADAL" clId="{90BE3EDE-F7E8-4C77-9892-0F40725CF1E6}" dt="2021-10-12T23:11:52.416" v="2926" actId="14100"/>
          <ac:graphicFrameMkLst>
            <pc:docMk/>
            <pc:sldMk cId="2825466284" sldId="386"/>
            <ac:graphicFrameMk id="7" creationId="{7368B303-CF16-4220-B838-8FA9A1A56F31}"/>
          </ac:graphicFrameMkLst>
        </pc:graphicFrameChg>
      </pc:sldChg>
      <pc:sldChg chg="modSp add del mod">
        <pc:chgData name="Kory Thacher (APPS / POWERSHELL)" userId="995eb0f2-f21c-467c-a947-4f8fc26d0f2e" providerId="ADAL" clId="{90BE3EDE-F7E8-4C77-9892-0F40725CF1E6}" dt="2021-10-14T17:43:35.381" v="4932" actId="47"/>
        <pc:sldMkLst>
          <pc:docMk/>
          <pc:sldMk cId="616154992" sldId="387"/>
        </pc:sldMkLst>
        <pc:graphicFrameChg chg="mod">
          <ac:chgData name="Kory Thacher (APPS / POWERSHELL)" userId="995eb0f2-f21c-467c-a947-4f8fc26d0f2e" providerId="ADAL" clId="{90BE3EDE-F7E8-4C77-9892-0F40725CF1E6}" dt="2021-10-12T23:12:56.218" v="2946" actId="113"/>
          <ac:graphicFrameMkLst>
            <pc:docMk/>
            <pc:sldMk cId="616154992" sldId="387"/>
            <ac:graphicFrameMk id="7" creationId="{7368B303-CF16-4220-B838-8FA9A1A56F31}"/>
          </ac:graphicFrameMkLst>
        </pc:graphicFrameChg>
      </pc:sldChg>
      <pc:sldChg chg="modSp add del ord">
        <pc:chgData name="Kory Thacher (APPS / POWERSHELL)" userId="995eb0f2-f21c-467c-a947-4f8fc26d0f2e" providerId="ADAL" clId="{90BE3EDE-F7E8-4C77-9892-0F40725CF1E6}" dt="2021-10-14T18:06:04.415" v="5290" actId="47"/>
        <pc:sldMkLst>
          <pc:docMk/>
          <pc:sldMk cId="4078708166" sldId="388"/>
        </pc:sldMkLst>
        <pc:graphicFrameChg chg="mod">
          <ac:chgData name="Kory Thacher (APPS / POWERSHELL)" userId="995eb0f2-f21c-467c-a947-4f8fc26d0f2e" providerId="ADAL" clId="{90BE3EDE-F7E8-4C77-9892-0F40725CF1E6}" dt="2021-10-14T18:05:50.947" v="5289" actId="255"/>
          <ac:graphicFrameMkLst>
            <pc:docMk/>
            <pc:sldMk cId="4078708166" sldId="388"/>
            <ac:graphicFrameMk id="7" creationId="{7368B303-CF16-4220-B838-8FA9A1A56F31}"/>
          </ac:graphicFrameMkLst>
        </pc:graphicFrameChg>
      </pc:sldChg>
      <pc:sldChg chg="modSp add del mod">
        <pc:chgData name="Kory Thacher (APPS / POWERSHELL)" userId="995eb0f2-f21c-467c-a947-4f8fc26d0f2e" providerId="ADAL" clId="{90BE3EDE-F7E8-4C77-9892-0F40725CF1E6}" dt="2021-10-14T18:24:52.671" v="5612" actId="47"/>
        <pc:sldMkLst>
          <pc:docMk/>
          <pc:sldMk cId="2108411310" sldId="389"/>
        </pc:sldMkLst>
        <pc:graphicFrameChg chg="mod">
          <ac:chgData name="Kory Thacher (APPS / POWERSHELL)" userId="995eb0f2-f21c-467c-a947-4f8fc26d0f2e" providerId="ADAL" clId="{90BE3EDE-F7E8-4C77-9892-0F40725CF1E6}" dt="2021-10-12T23:20:00.970" v="2969" actId="20577"/>
          <ac:graphicFrameMkLst>
            <pc:docMk/>
            <pc:sldMk cId="2108411310" sldId="389"/>
            <ac:graphicFrameMk id="7" creationId="{7368B303-CF16-4220-B838-8FA9A1A56F31}"/>
          </ac:graphicFrameMkLst>
        </pc:graphicFrameChg>
      </pc:sldChg>
      <pc:sldChg chg="modSp add del">
        <pc:chgData name="Kory Thacher (APPS / POWERSHELL)" userId="995eb0f2-f21c-467c-a947-4f8fc26d0f2e" providerId="ADAL" clId="{90BE3EDE-F7E8-4C77-9892-0F40725CF1E6}" dt="2021-10-14T18:24:53.824" v="5613" actId="47"/>
        <pc:sldMkLst>
          <pc:docMk/>
          <pc:sldMk cId="2851626306" sldId="390"/>
        </pc:sldMkLst>
        <pc:graphicFrameChg chg="mod">
          <ac:chgData name="Kory Thacher (APPS / POWERSHELL)" userId="995eb0f2-f21c-467c-a947-4f8fc26d0f2e" providerId="ADAL" clId="{90BE3EDE-F7E8-4C77-9892-0F40725CF1E6}" dt="2021-10-12T23:21:18.683" v="3208" actId="20577"/>
          <ac:graphicFrameMkLst>
            <pc:docMk/>
            <pc:sldMk cId="2851626306" sldId="390"/>
            <ac:graphicFrameMk id="7" creationId="{7368B303-CF16-4220-B838-8FA9A1A56F31}"/>
          </ac:graphicFrameMkLst>
        </pc:graphicFrameChg>
      </pc:sldChg>
      <pc:sldChg chg="modSp add mod">
        <pc:chgData name="Kory Thacher (APPS / POWERSHELL)" userId="995eb0f2-f21c-467c-a947-4f8fc26d0f2e" providerId="ADAL" clId="{90BE3EDE-F7E8-4C77-9892-0F40725CF1E6}" dt="2021-10-14T18:21:15.015" v="5589" actId="403"/>
        <pc:sldMkLst>
          <pc:docMk/>
          <pc:sldMk cId="1653815918" sldId="391"/>
        </pc:sldMkLst>
        <pc:graphicFrameChg chg="mod modGraphic">
          <ac:chgData name="Kory Thacher (APPS / POWERSHELL)" userId="995eb0f2-f21c-467c-a947-4f8fc26d0f2e" providerId="ADAL" clId="{90BE3EDE-F7E8-4C77-9892-0F40725CF1E6}" dt="2021-10-14T18:21:15.015" v="5589" actId="403"/>
          <ac:graphicFrameMkLst>
            <pc:docMk/>
            <pc:sldMk cId="1653815918" sldId="391"/>
            <ac:graphicFrameMk id="7" creationId="{7368B303-CF16-4220-B838-8FA9A1A56F31}"/>
          </ac:graphicFrameMkLst>
        </pc:graphicFrameChg>
      </pc:sldChg>
      <pc:sldChg chg="add del">
        <pc:chgData name="Kory Thacher (APPS / POWERSHELL)" userId="995eb0f2-f21c-467c-a947-4f8fc26d0f2e" providerId="ADAL" clId="{90BE3EDE-F7E8-4C77-9892-0F40725CF1E6}" dt="2021-10-14T18:13:00.875" v="5358" actId="47"/>
        <pc:sldMkLst>
          <pc:docMk/>
          <pc:sldMk cId="2877277302" sldId="392"/>
        </pc:sldMkLst>
      </pc:sldChg>
      <pc:sldChg chg="add modNotesTx">
        <pc:chgData name="Kory Thacher (APPS / POWERSHELL)" userId="995eb0f2-f21c-467c-a947-4f8fc26d0f2e" providerId="ADAL" clId="{90BE3EDE-F7E8-4C77-9892-0F40725CF1E6}" dt="2021-10-14T21:40:00.073" v="6425" actId="20577"/>
        <pc:sldMkLst>
          <pc:docMk/>
          <pc:sldMk cId="3410937674" sldId="393"/>
        </pc:sldMkLst>
      </pc:sldChg>
      <pc:sldChg chg="modSp new del mod">
        <pc:chgData name="Kory Thacher (APPS / POWERSHELL)" userId="995eb0f2-f21c-467c-a947-4f8fc26d0f2e" providerId="ADAL" clId="{90BE3EDE-F7E8-4C77-9892-0F40725CF1E6}" dt="2021-10-14T17:38:12.816" v="4899" actId="47"/>
        <pc:sldMkLst>
          <pc:docMk/>
          <pc:sldMk cId="950200286" sldId="394"/>
        </pc:sldMkLst>
        <pc:spChg chg="mod">
          <ac:chgData name="Kory Thacher (APPS / POWERSHELL)" userId="995eb0f2-f21c-467c-a947-4f8fc26d0f2e" providerId="ADAL" clId="{90BE3EDE-F7E8-4C77-9892-0F40725CF1E6}" dt="2021-10-12T23:33:20.335" v="3718" actId="20577"/>
          <ac:spMkLst>
            <pc:docMk/>
            <pc:sldMk cId="950200286" sldId="394"/>
            <ac:spMk id="3" creationId="{E4A4B9B8-9E87-4A15-9EF6-204F7FCFC241}"/>
          </ac:spMkLst>
        </pc:spChg>
      </pc:sldChg>
      <pc:sldChg chg="add del mod ord modShow">
        <pc:chgData name="Kory Thacher (APPS / POWERSHELL)" userId="995eb0f2-f21c-467c-a947-4f8fc26d0f2e" providerId="ADAL" clId="{90BE3EDE-F7E8-4C77-9892-0F40725CF1E6}" dt="2021-10-14T22:11:53.912" v="7111" actId="47"/>
        <pc:sldMkLst>
          <pc:docMk/>
          <pc:sldMk cId="859284316" sldId="395"/>
        </pc:sldMkLst>
      </pc:sldChg>
      <pc:sldChg chg="addSp modSp add del mod">
        <pc:chgData name="Kory Thacher (APPS / POWERSHELL)" userId="995eb0f2-f21c-467c-a947-4f8fc26d0f2e" providerId="ADAL" clId="{90BE3EDE-F7E8-4C77-9892-0F40725CF1E6}" dt="2021-10-14T21:56:38.325" v="6998" actId="47"/>
        <pc:sldMkLst>
          <pc:docMk/>
          <pc:sldMk cId="4186481143" sldId="396"/>
        </pc:sldMkLst>
        <pc:spChg chg="mod">
          <ac:chgData name="Kory Thacher (APPS / POWERSHELL)" userId="995eb0f2-f21c-467c-a947-4f8fc26d0f2e" providerId="ADAL" clId="{90BE3EDE-F7E8-4C77-9892-0F40725CF1E6}" dt="2021-10-12T23:37:16.055" v="4094" actId="20577"/>
          <ac:spMkLst>
            <pc:docMk/>
            <pc:sldMk cId="4186481143" sldId="396"/>
            <ac:spMk id="2" creationId="{0D571322-9F37-477D-9B5B-EBF49D8B1DE4}"/>
          </ac:spMkLst>
        </pc:spChg>
        <pc:spChg chg="mod">
          <ac:chgData name="Kory Thacher (APPS / POWERSHELL)" userId="995eb0f2-f21c-467c-a947-4f8fc26d0f2e" providerId="ADAL" clId="{90BE3EDE-F7E8-4C77-9892-0F40725CF1E6}" dt="2021-10-12T23:43:02.777" v="4255" actId="14100"/>
          <ac:spMkLst>
            <pc:docMk/>
            <pc:sldMk cId="4186481143" sldId="396"/>
            <ac:spMk id="3" creationId="{E19CD371-34E2-46F3-9601-EB061A749FC2}"/>
          </ac:spMkLst>
        </pc:spChg>
        <pc:spChg chg="add mod">
          <ac:chgData name="Kory Thacher (APPS / POWERSHELL)" userId="995eb0f2-f21c-467c-a947-4f8fc26d0f2e" providerId="ADAL" clId="{90BE3EDE-F7E8-4C77-9892-0F40725CF1E6}" dt="2021-10-12T23:42:55.962" v="4254" actId="6549"/>
          <ac:spMkLst>
            <pc:docMk/>
            <pc:sldMk cId="4186481143" sldId="396"/>
            <ac:spMk id="4" creationId="{3E8BCBAD-1899-444F-A74A-B889A67F41D6}"/>
          </ac:spMkLst>
        </pc:spChg>
      </pc:sldChg>
      <pc:sldChg chg="modSp add del mod modNotesTx">
        <pc:chgData name="Kory Thacher (APPS / POWERSHELL)" userId="995eb0f2-f21c-467c-a947-4f8fc26d0f2e" providerId="ADAL" clId="{90BE3EDE-F7E8-4C77-9892-0F40725CF1E6}" dt="2021-10-26T22:48:10.417" v="11117" actId="47"/>
        <pc:sldMkLst>
          <pc:docMk/>
          <pc:sldMk cId="4000340152" sldId="397"/>
        </pc:sldMkLst>
        <pc:graphicFrameChg chg="mod">
          <ac:chgData name="Kory Thacher (APPS / POWERSHELL)" userId="995eb0f2-f21c-467c-a947-4f8fc26d0f2e" providerId="ADAL" clId="{90BE3EDE-F7E8-4C77-9892-0F40725CF1E6}" dt="2021-10-14T22:46:16.052" v="7291" actId="113"/>
          <ac:graphicFrameMkLst>
            <pc:docMk/>
            <pc:sldMk cId="4000340152" sldId="397"/>
            <ac:graphicFrameMk id="7" creationId="{7368B303-CF16-4220-B838-8FA9A1A56F31}"/>
          </ac:graphicFrameMkLst>
        </pc:graphicFrameChg>
      </pc:sldChg>
      <pc:sldChg chg="delSp modSp add mod modNotesTx">
        <pc:chgData name="Kory Thacher (APPS / POWERSHELL)" userId="995eb0f2-f21c-467c-a947-4f8fc26d0f2e" providerId="ADAL" clId="{90BE3EDE-F7E8-4C77-9892-0F40725CF1E6}" dt="2021-10-25T22:58:38.166" v="10067" actId="20577"/>
        <pc:sldMkLst>
          <pc:docMk/>
          <pc:sldMk cId="3895123004" sldId="398"/>
        </pc:sldMkLst>
        <pc:spChg chg="mod">
          <ac:chgData name="Kory Thacher (APPS / POWERSHELL)" userId="995eb0f2-f21c-467c-a947-4f8fc26d0f2e" providerId="ADAL" clId="{90BE3EDE-F7E8-4C77-9892-0F40725CF1E6}" dt="2021-10-12T23:50:51.981" v="4428" actId="20577"/>
          <ac:spMkLst>
            <pc:docMk/>
            <pc:sldMk cId="3895123004" sldId="398"/>
            <ac:spMk id="2" creationId="{0D571322-9F37-477D-9B5B-EBF49D8B1DE4}"/>
          </ac:spMkLst>
        </pc:spChg>
        <pc:spChg chg="del">
          <ac:chgData name="Kory Thacher (APPS / POWERSHELL)" userId="995eb0f2-f21c-467c-a947-4f8fc26d0f2e" providerId="ADAL" clId="{90BE3EDE-F7E8-4C77-9892-0F40725CF1E6}" dt="2021-10-12T23:50:54.814" v="4429" actId="478"/>
          <ac:spMkLst>
            <pc:docMk/>
            <pc:sldMk cId="3895123004" sldId="398"/>
            <ac:spMk id="3" creationId="{E19CD371-34E2-46F3-9601-EB061A749FC2}"/>
          </ac:spMkLst>
        </pc:spChg>
        <pc:spChg chg="mod">
          <ac:chgData name="Kory Thacher (APPS / POWERSHELL)" userId="995eb0f2-f21c-467c-a947-4f8fc26d0f2e" providerId="ADAL" clId="{90BE3EDE-F7E8-4C77-9892-0F40725CF1E6}" dt="2021-10-14T22:36:08.674" v="7234" actId="20577"/>
          <ac:spMkLst>
            <pc:docMk/>
            <pc:sldMk cId="3895123004" sldId="398"/>
            <ac:spMk id="4" creationId="{3E8BCBAD-1899-444F-A74A-B889A67F41D6}"/>
          </ac:spMkLst>
        </pc:spChg>
      </pc:sldChg>
      <pc:sldChg chg="add modNotesTx">
        <pc:chgData name="Kory Thacher (APPS / POWERSHELL)" userId="995eb0f2-f21c-467c-a947-4f8fc26d0f2e" providerId="ADAL" clId="{90BE3EDE-F7E8-4C77-9892-0F40725CF1E6}" dt="2021-10-28T17:33:32.914" v="12162"/>
        <pc:sldMkLst>
          <pc:docMk/>
          <pc:sldMk cId="3365169138" sldId="399"/>
        </pc:sldMkLst>
      </pc:sldChg>
      <pc:sldChg chg="add">
        <pc:chgData name="Kory Thacher (APPS / POWERSHELL)" userId="995eb0f2-f21c-467c-a947-4f8fc26d0f2e" providerId="ADAL" clId="{90BE3EDE-F7E8-4C77-9892-0F40725CF1E6}" dt="2021-10-14T17:38:20.776" v="4900"/>
        <pc:sldMkLst>
          <pc:docMk/>
          <pc:sldMk cId="1139239881" sldId="400"/>
        </pc:sldMkLst>
      </pc:sldChg>
      <pc:sldChg chg="modSp add mod">
        <pc:chgData name="Kory Thacher (APPS / POWERSHELL)" userId="995eb0f2-f21c-467c-a947-4f8fc26d0f2e" providerId="ADAL" clId="{90BE3EDE-F7E8-4C77-9892-0F40725CF1E6}" dt="2021-10-14T17:38:37.464" v="4930" actId="20577"/>
        <pc:sldMkLst>
          <pc:docMk/>
          <pc:sldMk cId="2325836248" sldId="401"/>
        </pc:sldMkLst>
        <pc:spChg chg="mod">
          <ac:chgData name="Kory Thacher (APPS / POWERSHELL)" userId="995eb0f2-f21c-467c-a947-4f8fc26d0f2e" providerId="ADAL" clId="{90BE3EDE-F7E8-4C77-9892-0F40725CF1E6}" dt="2021-10-14T17:38:37.464" v="4930" actId="20577"/>
          <ac:spMkLst>
            <pc:docMk/>
            <pc:sldMk cId="2325836248" sldId="401"/>
            <ac:spMk id="4" creationId="{9CBC6F63-616D-478D-A91D-8B071350BF64}"/>
          </ac:spMkLst>
        </pc:spChg>
      </pc:sldChg>
      <pc:sldChg chg="addSp delSp modSp add del mod">
        <pc:chgData name="Kory Thacher (APPS / POWERSHELL)" userId="995eb0f2-f21c-467c-a947-4f8fc26d0f2e" providerId="ADAL" clId="{90BE3EDE-F7E8-4C77-9892-0F40725CF1E6}" dt="2021-10-14T18:11:28.167" v="5346" actId="47"/>
        <pc:sldMkLst>
          <pc:docMk/>
          <pc:sldMk cId="810569282" sldId="402"/>
        </pc:sldMkLst>
        <pc:graphicFrameChg chg="mod">
          <ac:chgData name="Kory Thacher (APPS / POWERSHELL)" userId="995eb0f2-f21c-467c-a947-4f8fc26d0f2e" providerId="ADAL" clId="{90BE3EDE-F7E8-4C77-9892-0F40725CF1E6}" dt="2021-10-14T18:01:55.572" v="5257" actId="1035"/>
          <ac:graphicFrameMkLst>
            <pc:docMk/>
            <pc:sldMk cId="810569282" sldId="402"/>
            <ac:graphicFrameMk id="7" creationId="{7368B303-CF16-4220-B838-8FA9A1A56F31}"/>
          </ac:graphicFrameMkLst>
        </pc:graphicFrameChg>
        <pc:picChg chg="del mod">
          <ac:chgData name="Kory Thacher (APPS / POWERSHELL)" userId="995eb0f2-f21c-467c-a947-4f8fc26d0f2e" providerId="ADAL" clId="{90BE3EDE-F7E8-4C77-9892-0F40725CF1E6}" dt="2021-10-14T18:01:45.661" v="5248" actId="478"/>
          <ac:picMkLst>
            <pc:docMk/>
            <pc:sldMk cId="810569282" sldId="402"/>
            <ac:picMk id="4" creationId="{BF85DACC-133F-4D30-8E6C-4FC6060717D0}"/>
          </ac:picMkLst>
        </pc:picChg>
        <pc:picChg chg="add mod modCrop">
          <ac:chgData name="Kory Thacher (APPS / POWERSHELL)" userId="995eb0f2-f21c-467c-a947-4f8fc26d0f2e" providerId="ADAL" clId="{90BE3EDE-F7E8-4C77-9892-0F40725CF1E6}" dt="2021-10-14T18:02:35.977" v="5263" actId="1440"/>
          <ac:picMkLst>
            <pc:docMk/>
            <pc:sldMk cId="810569282" sldId="402"/>
            <ac:picMk id="5" creationId="{466C9D9F-94B4-43F0-88B5-66B647F71EE9}"/>
          </ac:picMkLst>
        </pc:picChg>
      </pc:sldChg>
      <pc:sldChg chg="modSp add del">
        <pc:chgData name="Kory Thacher (APPS / POWERSHELL)" userId="995eb0f2-f21c-467c-a947-4f8fc26d0f2e" providerId="ADAL" clId="{90BE3EDE-F7E8-4C77-9892-0F40725CF1E6}" dt="2021-10-14T17:57:13.959" v="5074" actId="47"/>
        <pc:sldMkLst>
          <pc:docMk/>
          <pc:sldMk cId="1872856887" sldId="402"/>
        </pc:sldMkLst>
        <pc:graphicFrameChg chg="mod">
          <ac:chgData name="Kory Thacher (APPS / POWERSHELL)" userId="995eb0f2-f21c-467c-a947-4f8fc26d0f2e" providerId="ADAL" clId="{90BE3EDE-F7E8-4C77-9892-0F40725CF1E6}" dt="2021-10-14T17:52:13.504" v="5038" actId="13782"/>
          <ac:graphicFrameMkLst>
            <pc:docMk/>
            <pc:sldMk cId="1872856887" sldId="402"/>
            <ac:graphicFrameMk id="7" creationId="{7368B303-CF16-4220-B838-8FA9A1A56F31}"/>
          </ac:graphicFrameMkLst>
        </pc:graphicFrameChg>
      </pc:sldChg>
      <pc:sldChg chg="addSp modSp add del mod">
        <pc:chgData name="Kory Thacher (APPS / POWERSHELL)" userId="995eb0f2-f21c-467c-a947-4f8fc26d0f2e" providerId="ADAL" clId="{90BE3EDE-F7E8-4C77-9892-0F40725CF1E6}" dt="2021-10-14T18:08:03.608" v="5335" actId="47"/>
        <pc:sldMkLst>
          <pc:docMk/>
          <pc:sldMk cId="2731118571" sldId="403"/>
        </pc:sldMkLst>
        <pc:graphicFrameChg chg="mod modGraphic">
          <ac:chgData name="Kory Thacher (APPS / POWERSHELL)" userId="995eb0f2-f21c-467c-a947-4f8fc26d0f2e" providerId="ADAL" clId="{90BE3EDE-F7E8-4C77-9892-0F40725CF1E6}" dt="2021-10-14T18:07:50.391" v="5334" actId="1076"/>
          <ac:graphicFrameMkLst>
            <pc:docMk/>
            <pc:sldMk cId="2731118571" sldId="403"/>
            <ac:graphicFrameMk id="7" creationId="{7368B303-CF16-4220-B838-8FA9A1A56F31}"/>
          </ac:graphicFrameMkLst>
        </pc:graphicFrameChg>
        <pc:picChg chg="add mod">
          <ac:chgData name="Kory Thacher (APPS / POWERSHELL)" userId="995eb0f2-f21c-467c-a947-4f8fc26d0f2e" providerId="ADAL" clId="{90BE3EDE-F7E8-4C77-9892-0F40725CF1E6}" dt="2021-10-14T18:07:47.894" v="5333" actId="1076"/>
          <ac:picMkLst>
            <pc:docMk/>
            <pc:sldMk cId="2731118571" sldId="403"/>
            <ac:picMk id="4" creationId="{9BF3E08B-8645-4058-8266-0D0C136CC550}"/>
          </ac:picMkLst>
        </pc:picChg>
      </pc:sldChg>
      <pc:sldChg chg="modSp add modNotesTx">
        <pc:chgData name="Kory Thacher (APPS / POWERSHELL)" userId="995eb0f2-f21c-467c-a947-4f8fc26d0f2e" providerId="ADAL" clId="{90BE3EDE-F7E8-4C77-9892-0F40725CF1E6}" dt="2021-10-25T22:52:11.282" v="8665" actId="20577"/>
        <pc:sldMkLst>
          <pc:docMk/>
          <pc:sldMk cId="3259924927" sldId="403"/>
        </pc:sldMkLst>
        <pc:graphicFrameChg chg="mod">
          <ac:chgData name="Kory Thacher (APPS / POWERSHELL)" userId="995eb0f2-f21c-467c-a947-4f8fc26d0f2e" providerId="ADAL" clId="{90BE3EDE-F7E8-4C77-9892-0F40725CF1E6}" dt="2021-10-14T18:11:10.319" v="5345"/>
          <ac:graphicFrameMkLst>
            <pc:docMk/>
            <pc:sldMk cId="3259924927" sldId="403"/>
            <ac:graphicFrameMk id="7" creationId="{7368B303-CF16-4220-B838-8FA9A1A56F31}"/>
          </ac:graphicFrameMkLst>
        </pc:graphicFrameChg>
      </pc:sldChg>
      <pc:sldChg chg="modSp add del mod">
        <pc:chgData name="Kory Thacher (APPS / POWERSHELL)" userId="995eb0f2-f21c-467c-a947-4f8fc26d0f2e" providerId="ADAL" clId="{90BE3EDE-F7E8-4C77-9892-0F40725CF1E6}" dt="2021-10-14T18:24:50.402" v="5610" actId="47"/>
        <pc:sldMkLst>
          <pc:docMk/>
          <pc:sldMk cId="3939313521" sldId="404"/>
        </pc:sldMkLst>
        <pc:graphicFrameChg chg="mod">
          <ac:chgData name="Kory Thacher (APPS / POWERSHELL)" userId="995eb0f2-f21c-467c-a947-4f8fc26d0f2e" providerId="ADAL" clId="{90BE3EDE-F7E8-4C77-9892-0F40725CF1E6}" dt="2021-10-14T18:24:44.846" v="5609" actId="14100"/>
          <ac:graphicFrameMkLst>
            <pc:docMk/>
            <pc:sldMk cId="3939313521" sldId="404"/>
            <ac:graphicFrameMk id="7" creationId="{7368B303-CF16-4220-B838-8FA9A1A56F31}"/>
          </ac:graphicFrameMkLst>
        </pc:graphicFrameChg>
      </pc:sldChg>
      <pc:sldChg chg="addSp modSp add mod modNotesTx">
        <pc:chgData name="Kory Thacher (APPS / POWERSHELL)" userId="995eb0f2-f21c-467c-a947-4f8fc26d0f2e" providerId="ADAL" clId="{90BE3EDE-F7E8-4C77-9892-0F40725CF1E6}" dt="2021-10-25T22:52:57.018" v="8825" actId="20577"/>
        <pc:sldMkLst>
          <pc:docMk/>
          <pc:sldMk cId="2697481920" sldId="405"/>
        </pc:sldMkLst>
        <pc:spChg chg="add mod">
          <ac:chgData name="Kory Thacher (APPS / POWERSHELL)" userId="995eb0f2-f21c-467c-a947-4f8fc26d0f2e" providerId="ADAL" clId="{90BE3EDE-F7E8-4C77-9892-0F40725CF1E6}" dt="2021-10-14T18:22:25.684" v="5598" actId="1076"/>
          <ac:spMkLst>
            <pc:docMk/>
            <pc:sldMk cId="2697481920" sldId="405"/>
            <ac:spMk id="4" creationId="{9E75B3EA-D700-43F5-8B5C-8A43F1E17941}"/>
          </ac:spMkLst>
        </pc:spChg>
        <pc:graphicFrameChg chg="mod">
          <ac:chgData name="Kory Thacher (APPS / POWERSHELL)" userId="995eb0f2-f21c-467c-a947-4f8fc26d0f2e" providerId="ADAL" clId="{90BE3EDE-F7E8-4C77-9892-0F40725CF1E6}" dt="2021-10-14T18:25:20.401" v="5621" actId="113"/>
          <ac:graphicFrameMkLst>
            <pc:docMk/>
            <pc:sldMk cId="2697481920" sldId="405"/>
            <ac:graphicFrameMk id="7" creationId="{7368B303-CF16-4220-B838-8FA9A1A56F31}"/>
          </ac:graphicFrameMkLst>
        </pc:graphicFrameChg>
      </pc:sldChg>
      <pc:sldChg chg="modSp add del">
        <pc:chgData name="Kory Thacher (APPS / POWERSHELL)" userId="995eb0f2-f21c-467c-a947-4f8fc26d0f2e" providerId="ADAL" clId="{90BE3EDE-F7E8-4C77-9892-0F40725CF1E6}" dt="2021-10-14T18:39:54.387" v="6243" actId="47"/>
        <pc:sldMkLst>
          <pc:docMk/>
          <pc:sldMk cId="1924376077" sldId="406"/>
        </pc:sldMkLst>
        <pc:graphicFrameChg chg="mod">
          <ac:chgData name="Kory Thacher (APPS / POWERSHELL)" userId="995eb0f2-f21c-467c-a947-4f8fc26d0f2e" providerId="ADAL" clId="{90BE3EDE-F7E8-4C77-9892-0F40725CF1E6}" dt="2021-10-14T18:36:15.368" v="6053" actId="207"/>
          <ac:graphicFrameMkLst>
            <pc:docMk/>
            <pc:sldMk cId="1924376077" sldId="406"/>
            <ac:graphicFrameMk id="4" creationId="{14BFFC21-6822-4508-8FD5-E34A45A1FDEB}"/>
          </ac:graphicFrameMkLst>
        </pc:graphicFrameChg>
      </pc:sldChg>
      <pc:sldChg chg="modSp add del">
        <pc:chgData name="Kory Thacher (APPS / POWERSHELL)" userId="995eb0f2-f21c-467c-a947-4f8fc26d0f2e" providerId="ADAL" clId="{90BE3EDE-F7E8-4C77-9892-0F40725CF1E6}" dt="2021-10-14T18:24:51.596" v="5611" actId="47"/>
        <pc:sldMkLst>
          <pc:docMk/>
          <pc:sldMk cId="3972139418" sldId="406"/>
        </pc:sldMkLst>
        <pc:graphicFrameChg chg="mod">
          <ac:chgData name="Kory Thacher (APPS / POWERSHELL)" userId="995eb0f2-f21c-467c-a947-4f8fc26d0f2e" providerId="ADAL" clId="{90BE3EDE-F7E8-4C77-9892-0F40725CF1E6}" dt="2021-10-14T18:23:16.299" v="5601" actId="13782"/>
          <ac:graphicFrameMkLst>
            <pc:docMk/>
            <pc:sldMk cId="3972139418" sldId="406"/>
            <ac:graphicFrameMk id="7" creationId="{7368B303-CF16-4220-B838-8FA9A1A56F31}"/>
          </ac:graphicFrameMkLst>
        </pc:graphicFrameChg>
      </pc:sldChg>
      <pc:sldChg chg="modSp add del">
        <pc:chgData name="Kory Thacher (APPS / POWERSHELL)" userId="995eb0f2-f21c-467c-a947-4f8fc26d0f2e" providerId="ADAL" clId="{90BE3EDE-F7E8-4C77-9892-0F40725CF1E6}" dt="2021-10-14T18:40:33.606" v="6245" actId="47"/>
        <pc:sldMkLst>
          <pc:docMk/>
          <pc:sldMk cId="1805860340" sldId="407"/>
        </pc:sldMkLst>
        <pc:graphicFrameChg chg="mod">
          <ac:chgData name="Kory Thacher (APPS / POWERSHELL)" userId="995eb0f2-f21c-467c-a947-4f8fc26d0f2e" providerId="ADAL" clId="{90BE3EDE-F7E8-4C77-9892-0F40725CF1E6}" dt="2021-10-14T18:36:29.579" v="6055" actId="27349"/>
          <ac:graphicFrameMkLst>
            <pc:docMk/>
            <pc:sldMk cId="1805860340" sldId="407"/>
            <ac:graphicFrameMk id="4" creationId="{14BFFC21-6822-4508-8FD5-E34A45A1FDEB}"/>
          </ac:graphicFrameMkLst>
        </pc:graphicFrameChg>
      </pc:sldChg>
      <pc:sldChg chg="modSp add del">
        <pc:chgData name="Kory Thacher (APPS / POWERSHELL)" userId="995eb0f2-f21c-467c-a947-4f8fc26d0f2e" providerId="ADAL" clId="{90BE3EDE-F7E8-4C77-9892-0F40725CF1E6}" dt="2021-10-14T18:24:55.205" v="5614" actId="47"/>
        <pc:sldMkLst>
          <pc:docMk/>
          <pc:sldMk cId="4253141073" sldId="407"/>
        </pc:sldMkLst>
        <pc:graphicFrameChg chg="mod">
          <ac:chgData name="Kory Thacher (APPS / POWERSHELL)" userId="995eb0f2-f21c-467c-a947-4f8fc26d0f2e" providerId="ADAL" clId="{90BE3EDE-F7E8-4C77-9892-0F40725CF1E6}" dt="2021-10-14T18:23:41.731" v="5603" actId="13782"/>
          <ac:graphicFrameMkLst>
            <pc:docMk/>
            <pc:sldMk cId="4253141073" sldId="407"/>
            <ac:graphicFrameMk id="7" creationId="{7368B303-CF16-4220-B838-8FA9A1A56F31}"/>
          </ac:graphicFrameMkLst>
        </pc:graphicFrameChg>
      </pc:sldChg>
      <pc:sldChg chg="modSp add del mod">
        <pc:chgData name="Kory Thacher (APPS / POWERSHELL)" userId="995eb0f2-f21c-467c-a947-4f8fc26d0f2e" providerId="ADAL" clId="{90BE3EDE-F7E8-4C77-9892-0F40725CF1E6}" dt="2021-10-14T18:24:18.611" v="5608" actId="47"/>
        <pc:sldMkLst>
          <pc:docMk/>
          <pc:sldMk cId="1866752799" sldId="408"/>
        </pc:sldMkLst>
        <pc:graphicFrameChg chg="mod">
          <ac:chgData name="Kory Thacher (APPS / POWERSHELL)" userId="995eb0f2-f21c-467c-a947-4f8fc26d0f2e" providerId="ADAL" clId="{90BE3EDE-F7E8-4C77-9892-0F40725CF1E6}" dt="2021-10-14T18:24:05.462" v="5607" actId="14100"/>
          <ac:graphicFrameMkLst>
            <pc:docMk/>
            <pc:sldMk cId="1866752799" sldId="408"/>
            <ac:graphicFrameMk id="7" creationId="{7368B303-CF16-4220-B838-8FA9A1A56F31}"/>
          </ac:graphicFrameMkLst>
        </pc:graphicFrameChg>
      </pc:sldChg>
      <pc:sldChg chg="modSp add del">
        <pc:chgData name="Kory Thacher (APPS / POWERSHELL)" userId="995eb0f2-f21c-467c-a947-4f8fc26d0f2e" providerId="ADAL" clId="{90BE3EDE-F7E8-4C77-9892-0F40725CF1E6}" dt="2021-10-14T18:55:45.340" v="6309" actId="47"/>
        <pc:sldMkLst>
          <pc:docMk/>
          <pc:sldMk cId="2844086624" sldId="408"/>
        </pc:sldMkLst>
        <pc:graphicFrameChg chg="mod">
          <ac:chgData name="Kory Thacher (APPS / POWERSHELL)" userId="995eb0f2-f21c-467c-a947-4f8fc26d0f2e" providerId="ADAL" clId="{90BE3EDE-F7E8-4C77-9892-0F40725CF1E6}" dt="2021-10-14T18:38:41.217" v="6236" actId="20577"/>
          <ac:graphicFrameMkLst>
            <pc:docMk/>
            <pc:sldMk cId="2844086624" sldId="408"/>
            <ac:graphicFrameMk id="3" creationId="{7A95B8D9-10B5-4AF2-AAE1-B4F779365041}"/>
          </ac:graphicFrameMkLst>
        </pc:graphicFrameChg>
      </pc:sldChg>
      <pc:sldChg chg="modSp add del">
        <pc:chgData name="Kory Thacher (APPS / POWERSHELL)" userId="995eb0f2-f21c-467c-a947-4f8fc26d0f2e" providerId="ADAL" clId="{90BE3EDE-F7E8-4C77-9892-0F40725CF1E6}" dt="2021-10-14T18:56:24.054" v="6318" actId="47"/>
        <pc:sldMkLst>
          <pc:docMk/>
          <pc:sldMk cId="724142471" sldId="409"/>
        </pc:sldMkLst>
        <pc:graphicFrameChg chg="mod">
          <ac:chgData name="Kory Thacher (APPS / POWERSHELL)" userId="995eb0f2-f21c-467c-a947-4f8fc26d0f2e" providerId="ADAL" clId="{90BE3EDE-F7E8-4C77-9892-0F40725CF1E6}" dt="2021-10-14T18:38:50.718" v="6238" actId="122"/>
          <ac:graphicFrameMkLst>
            <pc:docMk/>
            <pc:sldMk cId="724142471" sldId="409"/>
            <ac:graphicFrameMk id="3" creationId="{7A95B8D9-10B5-4AF2-AAE1-B4F779365041}"/>
          </ac:graphicFrameMkLst>
        </pc:graphicFrameChg>
      </pc:sldChg>
      <pc:sldChg chg="modSp add del">
        <pc:chgData name="Kory Thacher (APPS / POWERSHELL)" userId="995eb0f2-f21c-467c-a947-4f8fc26d0f2e" providerId="ADAL" clId="{90BE3EDE-F7E8-4C77-9892-0F40725CF1E6}" dt="2021-10-14T18:55:32.621" v="6308" actId="47"/>
        <pc:sldMkLst>
          <pc:docMk/>
          <pc:sldMk cId="1166130570" sldId="410"/>
        </pc:sldMkLst>
        <pc:graphicFrameChg chg="mod">
          <ac:chgData name="Kory Thacher (APPS / POWERSHELL)" userId="995eb0f2-f21c-467c-a947-4f8fc26d0f2e" providerId="ADAL" clId="{90BE3EDE-F7E8-4C77-9892-0F40725CF1E6}" dt="2021-10-14T18:39:08.302" v="6240" actId="12100"/>
          <ac:graphicFrameMkLst>
            <pc:docMk/>
            <pc:sldMk cId="1166130570" sldId="410"/>
            <ac:graphicFrameMk id="3" creationId="{7A95B8D9-10B5-4AF2-AAE1-B4F779365041}"/>
          </ac:graphicFrameMkLst>
        </pc:graphicFrameChg>
      </pc:sldChg>
      <pc:sldChg chg="modSp add">
        <pc:chgData name="Kory Thacher (APPS / POWERSHELL)" userId="995eb0f2-f21c-467c-a947-4f8fc26d0f2e" providerId="ADAL" clId="{90BE3EDE-F7E8-4C77-9892-0F40725CF1E6}" dt="2021-10-14T18:56:13.100" v="6316" actId="20577"/>
        <pc:sldMkLst>
          <pc:docMk/>
          <pc:sldMk cId="2829815452" sldId="411"/>
        </pc:sldMkLst>
        <pc:graphicFrameChg chg="mod">
          <ac:chgData name="Kory Thacher (APPS / POWERSHELL)" userId="995eb0f2-f21c-467c-a947-4f8fc26d0f2e" providerId="ADAL" clId="{90BE3EDE-F7E8-4C77-9892-0F40725CF1E6}" dt="2021-10-14T18:56:13.100" v="6316" actId="20577"/>
          <ac:graphicFrameMkLst>
            <pc:docMk/>
            <pc:sldMk cId="2829815452" sldId="411"/>
            <ac:graphicFrameMk id="3" creationId="{7A95B8D9-10B5-4AF2-AAE1-B4F779365041}"/>
          </ac:graphicFrameMkLst>
        </pc:graphicFrameChg>
      </pc:sldChg>
      <pc:sldChg chg="addSp delSp modSp add del mod">
        <pc:chgData name="Kory Thacher (APPS / POWERSHELL)" userId="995eb0f2-f21c-467c-a947-4f8fc26d0f2e" providerId="ADAL" clId="{90BE3EDE-F7E8-4C77-9892-0F40725CF1E6}" dt="2021-10-14T22:11:33.193" v="7109" actId="47"/>
        <pc:sldMkLst>
          <pc:docMk/>
          <pc:sldMk cId="2411241582" sldId="412"/>
        </pc:sldMkLst>
        <pc:spChg chg="del mod">
          <ac:chgData name="Kory Thacher (APPS / POWERSHELL)" userId="995eb0f2-f21c-467c-a947-4f8fc26d0f2e" providerId="ADAL" clId="{90BE3EDE-F7E8-4C77-9892-0F40725CF1E6}" dt="2021-10-14T21:50:26.240" v="6941" actId="12084"/>
          <ac:spMkLst>
            <pc:docMk/>
            <pc:sldMk cId="2411241582" sldId="412"/>
            <ac:spMk id="3" creationId="{E19CD371-34E2-46F3-9601-EB061A749FC2}"/>
          </ac:spMkLst>
        </pc:spChg>
        <pc:graphicFrameChg chg="add del mod">
          <ac:chgData name="Kory Thacher (APPS / POWERSHELL)" userId="995eb0f2-f21c-467c-a947-4f8fc26d0f2e" providerId="ADAL" clId="{90BE3EDE-F7E8-4C77-9892-0F40725CF1E6}" dt="2021-10-14T21:59:20.558" v="7010" actId="478"/>
          <ac:graphicFrameMkLst>
            <pc:docMk/>
            <pc:sldMk cId="2411241582" sldId="412"/>
            <ac:graphicFrameMk id="4" creationId="{30553AC0-86E7-48AD-AE50-152E2377470F}"/>
          </ac:graphicFrameMkLst>
        </pc:graphicFrameChg>
      </pc:sldChg>
      <pc:sldChg chg="modSp del">
        <pc:chgData name="Kory Thacher (APPS / POWERSHELL)" userId="995eb0f2-f21c-467c-a947-4f8fc26d0f2e" providerId="ADAL" clId="{90BE3EDE-F7E8-4C77-9892-0F40725CF1E6}" dt="2021-10-14T22:11:53.912" v="7111" actId="47"/>
        <pc:sldMkLst>
          <pc:docMk/>
          <pc:sldMk cId="125991477" sldId="413"/>
        </pc:sldMkLst>
        <pc:graphicFrameChg chg="mod">
          <ac:chgData name="Kory Thacher (APPS / POWERSHELL)" userId="995eb0f2-f21c-467c-a947-4f8fc26d0f2e" providerId="ADAL" clId="{90BE3EDE-F7E8-4C77-9892-0F40725CF1E6}" dt="2021-10-14T21:55:54.164" v="6982"/>
          <ac:graphicFrameMkLst>
            <pc:docMk/>
            <pc:sldMk cId="125991477" sldId="413"/>
            <ac:graphicFrameMk id="7" creationId="{7368B303-CF16-4220-B838-8FA9A1A56F31}"/>
          </ac:graphicFrameMkLst>
        </pc:graphicFrameChg>
      </pc:sldChg>
      <pc:sldChg chg="add del">
        <pc:chgData name="Kory Thacher (APPS / POWERSHELL)" userId="995eb0f2-f21c-467c-a947-4f8fc26d0f2e" providerId="ADAL" clId="{90BE3EDE-F7E8-4C77-9892-0F40725CF1E6}" dt="2021-10-14T21:53:00.550" v="6954" actId="47"/>
        <pc:sldMkLst>
          <pc:docMk/>
          <pc:sldMk cId="1869760781" sldId="414"/>
        </pc:sldMkLst>
      </pc:sldChg>
      <pc:sldChg chg="addSp delSp modSp add del mod ord">
        <pc:chgData name="Kory Thacher (APPS / POWERSHELL)" userId="995eb0f2-f21c-467c-a947-4f8fc26d0f2e" providerId="ADAL" clId="{90BE3EDE-F7E8-4C77-9892-0F40725CF1E6}" dt="2021-10-14T22:21:36.884" v="7181" actId="47"/>
        <pc:sldMkLst>
          <pc:docMk/>
          <pc:sldMk cId="2596934045" sldId="414"/>
        </pc:sldMkLst>
        <pc:spChg chg="del mod">
          <ac:chgData name="Kory Thacher (APPS / POWERSHELL)" userId="995eb0f2-f21c-467c-a947-4f8fc26d0f2e" providerId="ADAL" clId="{90BE3EDE-F7E8-4C77-9892-0F40725CF1E6}" dt="2021-10-14T21:54:56.688" v="6981" actId="12084"/>
          <ac:spMkLst>
            <pc:docMk/>
            <pc:sldMk cId="2596934045" sldId="414"/>
            <ac:spMk id="3" creationId="{E19CD371-34E2-46F3-9601-EB061A749FC2}"/>
          </ac:spMkLst>
        </pc:spChg>
        <pc:spChg chg="mod">
          <ac:chgData name="Kory Thacher (APPS / POWERSHELL)" userId="995eb0f2-f21c-467c-a947-4f8fc26d0f2e" providerId="ADAL" clId="{90BE3EDE-F7E8-4C77-9892-0F40725CF1E6}" dt="2021-10-14T21:57:03.747" v="7002" actId="1036"/>
          <ac:spMkLst>
            <pc:docMk/>
            <pc:sldMk cId="2596934045" sldId="414"/>
            <ac:spMk id="4" creationId="{3E8BCBAD-1899-444F-A74A-B889A67F41D6}"/>
          </ac:spMkLst>
        </pc:spChg>
        <pc:graphicFrameChg chg="add mod">
          <ac:chgData name="Kory Thacher (APPS / POWERSHELL)" userId="995eb0f2-f21c-467c-a947-4f8fc26d0f2e" providerId="ADAL" clId="{90BE3EDE-F7E8-4C77-9892-0F40725CF1E6}" dt="2021-10-14T21:57:08.701" v="7006" actId="1036"/>
          <ac:graphicFrameMkLst>
            <pc:docMk/>
            <pc:sldMk cId="2596934045" sldId="414"/>
            <ac:graphicFrameMk id="5" creationId="{52DE7AD8-4EEC-4612-A0E9-F41833470B08}"/>
          </ac:graphicFrameMkLst>
        </pc:graphicFrameChg>
      </pc:sldChg>
      <pc:sldChg chg="add del">
        <pc:chgData name="Kory Thacher (APPS / POWERSHELL)" userId="995eb0f2-f21c-467c-a947-4f8fc26d0f2e" providerId="ADAL" clId="{90BE3EDE-F7E8-4C77-9892-0F40725CF1E6}" dt="2021-10-14T21:58:02.631" v="7008" actId="47"/>
        <pc:sldMkLst>
          <pc:docMk/>
          <pc:sldMk cId="2135939733" sldId="415"/>
        </pc:sldMkLst>
      </pc:sldChg>
      <pc:sldChg chg="modSp add mod modNotesTx">
        <pc:chgData name="Kory Thacher (APPS / POWERSHELL)" userId="995eb0f2-f21c-467c-a947-4f8fc26d0f2e" providerId="ADAL" clId="{90BE3EDE-F7E8-4C77-9892-0F40725CF1E6}" dt="2021-10-25T22:54:26.265" v="9191"/>
        <pc:sldMkLst>
          <pc:docMk/>
          <pc:sldMk cId="2916806554" sldId="415"/>
        </pc:sldMkLst>
        <pc:spChg chg="mod">
          <ac:chgData name="Kory Thacher (APPS / POWERSHELL)" userId="995eb0f2-f21c-467c-a947-4f8fc26d0f2e" providerId="ADAL" clId="{90BE3EDE-F7E8-4C77-9892-0F40725CF1E6}" dt="2021-10-14T22:13:57.230" v="7134" actId="20577"/>
          <ac:spMkLst>
            <pc:docMk/>
            <pc:sldMk cId="2916806554" sldId="415"/>
            <ac:spMk id="2" creationId="{0D571322-9F37-477D-9B5B-EBF49D8B1DE4}"/>
          </ac:spMkLst>
        </pc:spChg>
        <pc:graphicFrameChg chg="mod modGraphic">
          <ac:chgData name="Kory Thacher (APPS / POWERSHELL)" userId="995eb0f2-f21c-467c-a947-4f8fc26d0f2e" providerId="ADAL" clId="{90BE3EDE-F7E8-4C77-9892-0F40725CF1E6}" dt="2021-10-25T22:11:49.539" v="7631" actId="403"/>
          <ac:graphicFrameMkLst>
            <pc:docMk/>
            <pc:sldMk cId="2916806554" sldId="415"/>
            <ac:graphicFrameMk id="4" creationId="{30553AC0-86E7-48AD-AE50-152E2377470F}"/>
          </ac:graphicFrameMkLst>
        </pc:graphicFrameChg>
      </pc:sldChg>
      <pc:sldChg chg="modSp mod modNotesTx">
        <pc:chgData name="Kory Thacher (APPS / POWERSHELL)" userId="995eb0f2-f21c-467c-a947-4f8fc26d0f2e" providerId="ADAL" clId="{90BE3EDE-F7E8-4C77-9892-0F40725CF1E6}" dt="2021-10-25T22:55:53.922" v="9638" actId="20577"/>
        <pc:sldMkLst>
          <pc:docMk/>
          <pc:sldMk cId="1384625904" sldId="416"/>
        </pc:sldMkLst>
        <pc:spChg chg="mod">
          <ac:chgData name="Kory Thacher (APPS / POWERSHELL)" userId="995eb0f2-f21c-467c-a947-4f8fc26d0f2e" providerId="ADAL" clId="{90BE3EDE-F7E8-4C77-9892-0F40725CF1E6}" dt="2021-10-25T22:07:34.191" v="7624" actId="14100"/>
          <ac:spMkLst>
            <pc:docMk/>
            <pc:sldMk cId="1384625904" sldId="416"/>
            <ac:spMk id="4" creationId="{3E8BCBAD-1899-444F-A74A-B889A67F41D6}"/>
          </ac:spMkLst>
        </pc:spChg>
      </pc:sldChg>
      <pc:sldChg chg="modSp add del">
        <pc:chgData name="Kory Thacher (APPS / POWERSHELL)" userId="995eb0f2-f21c-467c-a947-4f8fc26d0f2e" providerId="ADAL" clId="{90BE3EDE-F7E8-4C77-9892-0F40725CF1E6}" dt="2021-10-14T22:16:12.560" v="7146" actId="47"/>
        <pc:sldMkLst>
          <pc:docMk/>
          <pc:sldMk cId="1523115316" sldId="416"/>
        </pc:sldMkLst>
        <pc:graphicFrameChg chg="mod">
          <ac:chgData name="Kory Thacher (APPS / POWERSHELL)" userId="995eb0f2-f21c-467c-a947-4f8fc26d0f2e" providerId="ADAL" clId="{90BE3EDE-F7E8-4C77-9892-0F40725CF1E6}" dt="2021-10-14T22:12:07.319" v="7112" actId="12100"/>
          <ac:graphicFrameMkLst>
            <pc:docMk/>
            <pc:sldMk cId="1523115316" sldId="416"/>
            <ac:graphicFrameMk id="4" creationId="{30553AC0-86E7-48AD-AE50-152E2377470F}"/>
          </ac:graphicFrameMkLst>
        </pc:graphicFrameChg>
      </pc:sldChg>
      <pc:sldChg chg="modSp add del mod">
        <pc:chgData name="Kory Thacher (APPS / POWERSHELL)" userId="995eb0f2-f21c-467c-a947-4f8fc26d0f2e" providerId="ADAL" clId="{90BE3EDE-F7E8-4C77-9892-0F40725CF1E6}" dt="2021-10-14T22:50:22.613" v="7314" actId="47"/>
        <pc:sldMkLst>
          <pc:docMk/>
          <pc:sldMk cId="796639908" sldId="417"/>
        </pc:sldMkLst>
        <pc:spChg chg="mod">
          <ac:chgData name="Kory Thacher (APPS / POWERSHELL)" userId="995eb0f2-f21c-467c-a947-4f8fc26d0f2e" providerId="ADAL" clId="{90BE3EDE-F7E8-4C77-9892-0F40725CF1E6}" dt="2021-10-14T22:49:33.475" v="7306" actId="20577"/>
          <ac:spMkLst>
            <pc:docMk/>
            <pc:sldMk cId="796639908" sldId="417"/>
            <ac:spMk id="4" creationId="{61CAFAC0-A886-498C-A5DF-4B89C26EF42D}"/>
          </ac:spMkLst>
        </pc:spChg>
      </pc:sldChg>
      <pc:sldChg chg="modSp add mod">
        <pc:chgData name="Kory Thacher (APPS / POWERSHELL)" userId="995eb0f2-f21c-467c-a947-4f8fc26d0f2e" providerId="ADAL" clId="{90BE3EDE-F7E8-4C77-9892-0F40725CF1E6}" dt="2021-10-14T22:51:09.988" v="7331" actId="1036"/>
        <pc:sldMkLst>
          <pc:docMk/>
          <pc:sldMk cId="1611510080" sldId="417"/>
        </pc:sldMkLst>
        <pc:spChg chg="mod">
          <ac:chgData name="Kory Thacher (APPS / POWERSHELL)" userId="995eb0f2-f21c-467c-a947-4f8fc26d0f2e" providerId="ADAL" clId="{90BE3EDE-F7E8-4C77-9892-0F40725CF1E6}" dt="2021-10-14T22:51:09.988" v="7331" actId="1036"/>
          <ac:spMkLst>
            <pc:docMk/>
            <pc:sldMk cId="1611510080" sldId="417"/>
            <ac:spMk id="4" creationId="{61CAFAC0-A886-498C-A5DF-4B89C26EF42D}"/>
          </ac:spMkLst>
        </pc:spChg>
      </pc:sldChg>
      <pc:sldChg chg="modSp add del mod">
        <pc:chgData name="Kory Thacher (APPS / POWERSHELL)" userId="995eb0f2-f21c-467c-a947-4f8fc26d0f2e" providerId="ADAL" clId="{90BE3EDE-F7E8-4C77-9892-0F40725CF1E6}" dt="2021-10-14T22:45:58.310" v="7285" actId="47"/>
        <pc:sldMkLst>
          <pc:docMk/>
          <pc:sldMk cId="2896298923" sldId="417"/>
        </pc:sldMkLst>
        <pc:graphicFrameChg chg="mod">
          <ac:chgData name="Kory Thacher (APPS / POWERSHELL)" userId="995eb0f2-f21c-467c-a947-4f8fc26d0f2e" providerId="ADAL" clId="{90BE3EDE-F7E8-4C77-9892-0F40725CF1E6}" dt="2021-10-14T22:39:49.056" v="7250"/>
          <ac:graphicFrameMkLst>
            <pc:docMk/>
            <pc:sldMk cId="2896298923" sldId="417"/>
            <ac:graphicFrameMk id="7" creationId="{7368B303-CF16-4220-B838-8FA9A1A56F31}"/>
          </ac:graphicFrameMkLst>
        </pc:graphicFrameChg>
      </pc:sldChg>
      <pc:sldChg chg="modSp add del mod">
        <pc:chgData name="Kory Thacher (APPS / POWERSHELL)" userId="995eb0f2-f21c-467c-a947-4f8fc26d0f2e" providerId="ADAL" clId="{90BE3EDE-F7E8-4C77-9892-0F40725CF1E6}" dt="2021-10-14T22:21:07.667" v="7178" actId="47"/>
        <pc:sldMkLst>
          <pc:docMk/>
          <pc:sldMk cId="2923559024" sldId="417"/>
        </pc:sldMkLst>
        <pc:graphicFrameChg chg="mod">
          <ac:chgData name="Kory Thacher (APPS / POWERSHELL)" userId="995eb0f2-f21c-467c-a947-4f8fc26d0f2e" providerId="ADAL" clId="{90BE3EDE-F7E8-4C77-9892-0F40725CF1E6}" dt="2021-10-14T22:20:32.945" v="7177" actId="113"/>
          <ac:graphicFrameMkLst>
            <pc:docMk/>
            <pc:sldMk cId="2923559024" sldId="417"/>
            <ac:graphicFrameMk id="5" creationId="{52DE7AD8-4EEC-4612-A0E9-F41833470B08}"/>
          </ac:graphicFrameMkLst>
        </pc:graphicFrameChg>
      </pc:sldChg>
      <pc:sldChg chg="modSp add del">
        <pc:chgData name="Kory Thacher (APPS / POWERSHELL)" userId="995eb0f2-f21c-467c-a947-4f8fc26d0f2e" providerId="ADAL" clId="{90BE3EDE-F7E8-4C77-9892-0F40725CF1E6}" dt="2021-10-14T22:16:12.560" v="7146" actId="47"/>
        <pc:sldMkLst>
          <pc:docMk/>
          <pc:sldMk cId="4268290526" sldId="417"/>
        </pc:sldMkLst>
        <pc:graphicFrameChg chg="mod">
          <ac:chgData name="Kory Thacher (APPS / POWERSHELL)" userId="995eb0f2-f21c-467c-a947-4f8fc26d0f2e" providerId="ADAL" clId="{90BE3EDE-F7E8-4C77-9892-0F40725CF1E6}" dt="2021-10-14T22:12:20.563" v="7114" actId="12100"/>
          <ac:graphicFrameMkLst>
            <pc:docMk/>
            <pc:sldMk cId="4268290526" sldId="417"/>
            <ac:graphicFrameMk id="4" creationId="{30553AC0-86E7-48AD-AE50-152E2377470F}"/>
          </ac:graphicFrameMkLst>
        </pc:graphicFrameChg>
      </pc:sldChg>
      <pc:sldChg chg="modSp add del mod">
        <pc:chgData name="Kory Thacher (APPS / POWERSHELL)" userId="995eb0f2-f21c-467c-a947-4f8fc26d0f2e" providerId="ADAL" clId="{90BE3EDE-F7E8-4C77-9892-0F40725CF1E6}" dt="2021-10-14T22:16:07.501" v="7145" actId="47"/>
        <pc:sldMkLst>
          <pc:docMk/>
          <pc:sldMk cId="1131061749" sldId="418"/>
        </pc:sldMkLst>
        <pc:graphicFrameChg chg="mod">
          <ac:chgData name="Kory Thacher (APPS / POWERSHELL)" userId="995eb0f2-f21c-467c-a947-4f8fc26d0f2e" providerId="ADAL" clId="{90BE3EDE-F7E8-4C77-9892-0F40725CF1E6}" dt="2021-10-14T22:15:51.481" v="7144" actId="14100"/>
          <ac:graphicFrameMkLst>
            <pc:docMk/>
            <pc:sldMk cId="1131061749" sldId="418"/>
            <ac:graphicFrameMk id="4" creationId="{30553AC0-86E7-48AD-AE50-152E2377470F}"/>
          </ac:graphicFrameMkLst>
        </pc:graphicFrameChg>
      </pc:sldChg>
      <pc:sldChg chg="modSp add del">
        <pc:chgData name="Kory Thacher (APPS / POWERSHELL)" userId="995eb0f2-f21c-467c-a947-4f8fc26d0f2e" providerId="ADAL" clId="{90BE3EDE-F7E8-4C77-9892-0F40725CF1E6}" dt="2021-10-25T22:19:50.728" v="7636" actId="47"/>
        <pc:sldMkLst>
          <pc:docMk/>
          <pc:sldMk cId="3570845651" sldId="418"/>
        </pc:sldMkLst>
        <pc:graphicFrameChg chg="mod">
          <ac:chgData name="Kory Thacher (APPS / POWERSHELL)" userId="995eb0f2-f21c-467c-a947-4f8fc26d0f2e" providerId="ADAL" clId="{90BE3EDE-F7E8-4C77-9892-0F40725CF1E6}" dt="2021-10-14T23:05:57.799" v="7619" actId="113"/>
          <ac:graphicFrameMkLst>
            <pc:docMk/>
            <pc:sldMk cId="3570845651" sldId="418"/>
            <ac:graphicFrameMk id="7" creationId="{7368B303-CF16-4220-B838-8FA9A1A56F31}"/>
          </ac:graphicFrameMkLst>
        </pc:graphicFrameChg>
      </pc:sldChg>
      <pc:sldChg chg="add del">
        <pc:chgData name="Kory Thacher (APPS / POWERSHELL)" userId="995eb0f2-f21c-467c-a947-4f8fc26d0f2e" providerId="ADAL" clId="{90BE3EDE-F7E8-4C77-9892-0F40725CF1E6}" dt="2021-10-14T22:45:18.879" v="7284" actId="47"/>
        <pc:sldMkLst>
          <pc:docMk/>
          <pc:sldMk cId="3643664895" sldId="418"/>
        </pc:sldMkLst>
      </pc:sldChg>
      <pc:sldChg chg="addSp modSp add del mod modNotesTx">
        <pc:chgData name="Kory Thacher (APPS / POWERSHELL)" userId="995eb0f2-f21c-467c-a947-4f8fc26d0f2e" providerId="ADAL" clId="{90BE3EDE-F7E8-4C77-9892-0F40725CF1E6}" dt="2021-10-25T22:44:31.856" v="8211" actId="47"/>
        <pc:sldMkLst>
          <pc:docMk/>
          <pc:sldMk cId="990912147" sldId="419"/>
        </pc:sldMkLst>
        <pc:spChg chg="mod">
          <ac:chgData name="Kory Thacher (APPS / POWERSHELL)" userId="995eb0f2-f21c-467c-a947-4f8fc26d0f2e" providerId="ADAL" clId="{90BE3EDE-F7E8-4C77-9892-0F40725CF1E6}" dt="2021-10-25T22:36:43.058" v="7656" actId="1076"/>
          <ac:spMkLst>
            <pc:docMk/>
            <pc:sldMk cId="990912147" sldId="419"/>
            <ac:spMk id="2" creationId="{0D571322-9F37-477D-9B5B-EBF49D8B1DE4}"/>
          </ac:spMkLst>
        </pc:spChg>
        <pc:spChg chg="mod">
          <ac:chgData name="Kory Thacher (APPS / POWERSHELL)" userId="995eb0f2-f21c-467c-a947-4f8fc26d0f2e" providerId="ADAL" clId="{90BE3EDE-F7E8-4C77-9892-0F40725CF1E6}" dt="2021-10-25T22:38:29.160" v="7674" actId="207"/>
          <ac:spMkLst>
            <pc:docMk/>
            <pc:sldMk cId="990912147" sldId="419"/>
            <ac:spMk id="4" creationId="{6BE92B9B-294D-4012-93B9-C8AB3A0259BE}"/>
          </ac:spMkLst>
        </pc:spChg>
        <pc:spChg chg="add mod">
          <ac:chgData name="Kory Thacher (APPS / POWERSHELL)" userId="995eb0f2-f21c-467c-a947-4f8fc26d0f2e" providerId="ADAL" clId="{90BE3EDE-F7E8-4C77-9892-0F40725CF1E6}" dt="2021-10-25T22:38:38.153" v="7675"/>
          <ac:spMkLst>
            <pc:docMk/>
            <pc:sldMk cId="990912147" sldId="419"/>
            <ac:spMk id="5" creationId="{DE780830-B2A8-4920-B304-0BE357D89892}"/>
          </ac:spMkLst>
        </pc:spChg>
        <pc:graphicFrameChg chg="mod">
          <ac:chgData name="Kory Thacher (APPS / POWERSHELL)" userId="995eb0f2-f21c-467c-a947-4f8fc26d0f2e" providerId="ADAL" clId="{90BE3EDE-F7E8-4C77-9892-0F40725CF1E6}" dt="2021-10-25T22:41:20.729" v="7773" actId="20577"/>
          <ac:graphicFrameMkLst>
            <pc:docMk/>
            <pc:sldMk cId="990912147" sldId="419"/>
            <ac:graphicFrameMk id="7" creationId="{7368B303-CF16-4220-B838-8FA9A1A56F31}"/>
          </ac:graphicFrameMkLst>
        </pc:graphicFrameChg>
      </pc:sldChg>
      <pc:sldChg chg="modSp add del">
        <pc:chgData name="Kory Thacher (APPS / POWERSHELL)" userId="995eb0f2-f21c-467c-a947-4f8fc26d0f2e" providerId="ADAL" clId="{90BE3EDE-F7E8-4C77-9892-0F40725CF1E6}" dt="2021-10-14T23:05:21.637" v="7615" actId="47"/>
        <pc:sldMkLst>
          <pc:docMk/>
          <pc:sldMk cId="2469698787" sldId="419"/>
        </pc:sldMkLst>
        <pc:graphicFrameChg chg="mod">
          <ac:chgData name="Kory Thacher (APPS / POWERSHELL)" userId="995eb0f2-f21c-467c-a947-4f8fc26d0f2e" providerId="ADAL" clId="{90BE3EDE-F7E8-4C77-9892-0F40725CF1E6}" dt="2021-10-14T23:04:44.254" v="7614" actId="12100"/>
          <ac:graphicFrameMkLst>
            <pc:docMk/>
            <pc:sldMk cId="2469698787" sldId="419"/>
            <ac:graphicFrameMk id="7" creationId="{7368B303-CF16-4220-B838-8FA9A1A56F31}"/>
          </ac:graphicFrameMkLst>
        </pc:graphicFrameChg>
      </pc:sldChg>
      <pc:sldChg chg="modSp add del">
        <pc:chgData name="Kory Thacher (APPS / POWERSHELL)" userId="995eb0f2-f21c-467c-a947-4f8fc26d0f2e" providerId="ADAL" clId="{90BE3EDE-F7E8-4C77-9892-0F40725CF1E6}" dt="2021-10-25T22:19:50.728" v="7636" actId="47"/>
        <pc:sldMkLst>
          <pc:docMk/>
          <pc:sldMk cId="2791247384" sldId="419"/>
        </pc:sldMkLst>
        <pc:graphicFrameChg chg="mod">
          <ac:chgData name="Kory Thacher (APPS / POWERSHELL)" userId="995eb0f2-f21c-467c-a947-4f8fc26d0f2e" providerId="ADAL" clId="{90BE3EDE-F7E8-4C77-9892-0F40725CF1E6}" dt="2021-10-14T23:06:12.979" v="7622" actId="12100"/>
          <ac:graphicFrameMkLst>
            <pc:docMk/>
            <pc:sldMk cId="2791247384" sldId="419"/>
            <ac:graphicFrameMk id="7" creationId="{7368B303-CF16-4220-B838-8FA9A1A56F31}"/>
          </ac:graphicFrameMkLst>
        </pc:graphicFrameChg>
      </pc:sldChg>
      <pc:sldChg chg="modSp add del">
        <pc:chgData name="Kory Thacher (APPS / POWERSHELL)" userId="995eb0f2-f21c-467c-a947-4f8fc26d0f2e" providerId="ADAL" clId="{90BE3EDE-F7E8-4C77-9892-0F40725CF1E6}" dt="2021-10-14T23:04:15.990" v="7612" actId="47"/>
        <pc:sldMkLst>
          <pc:docMk/>
          <pc:sldMk cId="2878378652" sldId="419"/>
        </pc:sldMkLst>
        <pc:graphicFrameChg chg="mod">
          <ac:chgData name="Kory Thacher (APPS / POWERSHELL)" userId="995eb0f2-f21c-467c-a947-4f8fc26d0f2e" providerId="ADAL" clId="{90BE3EDE-F7E8-4C77-9892-0F40725CF1E6}" dt="2021-10-14T23:03:29.587" v="7607" actId="12"/>
          <ac:graphicFrameMkLst>
            <pc:docMk/>
            <pc:sldMk cId="2878378652" sldId="419"/>
            <ac:graphicFrameMk id="7" creationId="{7368B303-CF16-4220-B838-8FA9A1A56F31}"/>
          </ac:graphicFrameMkLst>
        </pc:graphicFrameChg>
      </pc:sldChg>
      <pc:sldChg chg="add del">
        <pc:chgData name="Kory Thacher (APPS / POWERSHELL)" userId="995eb0f2-f21c-467c-a947-4f8fc26d0f2e" providerId="ADAL" clId="{90BE3EDE-F7E8-4C77-9892-0F40725CF1E6}" dt="2021-10-14T22:15:08.173" v="7138" actId="47"/>
        <pc:sldMkLst>
          <pc:docMk/>
          <pc:sldMk cId="4186689561" sldId="419"/>
        </pc:sldMkLst>
      </pc:sldChg>
      <pc:sldChg chg="addSp delSp modSp add del">
        <pc:chgData name="Kory Thacher (APPS / POWERSHELL)" userId="995eb0f2-f21c-467c-a947-4f8fc26d0f2e" providerId="ADAL" clId="{90BE3EDE-F7E8-4C77-9892-0F40725CF1E6}" dt="2021-10-14T23:04:15.990" v="7612" actId="47"/>
        <pc:sldMkLst>
          <pc:docMk/>
          <pc:sldMk cId="1854271020" sldId="420"/>
        </pc:sldMkLst>
        <pc:spChg chg="add del mod">
          <ac:chgData name="Kory Thacher (APPS / POWERSHELL)" userId="995eb0f2-f21c-467c-a947-4f8fc26d0f2e" providerId="ADAL" clId="{90BE3EDE-F7E8-4C77-9892-0F40725CF1E6}" dt="2021-10-14T23:04:07.727" v="7611"/>
          <ac:spMkLst>
            <pc:docMk/>
            <pc:sldMk cId="1854271020" sldId="420"/>
            <ac:spMk id="4" creationId="{D97E51FF-9FF6-4DF0-BEDF-6B052AF29C26}"/>
          </ac:spMkLst>
        </pc:spChg>
        <pc:graphicFrameChg chg="mod">
          <ac:chgData name="Kory Thacher (APPS / POWERSHELL)" userId="995eb0f2-f21c-467c-a947-4f8fc26d0f2e" providerId="ADAL" clId="{90BE3EDE-F7E8-4C77-9892-0F40725CF1E6}" dt="2021-10-14T23:03:58.259" v="7609" actId="13782"/>
          <ac:graphicFrameMkLst>
            <pc:docMk/>
            <pc:sldMk cId="1854271020" sldId="420"/>
            <ac:graphicFrameMk id="7" creationId="{7368B303-CF16-4220-B838-8FA9A1A56F31}"/>
          </ac:graphicFrameMkLst>
        </pc:graphicFrameChg>
      </pc:sldChg>
      <pc:sldChg chg="modNotesTx">
        <pc:chgData name="Kory Thacher (APPS / POWERSHELL)" userId="995eb0f2-f21c-467c-a947-4f8fc26d0f2e" providerId="ADAL" clId="{90BE3EDE-F7E8-4C77-9892-0F40725CF1E6}" dt="2021-10-25T22:44:21.121" v="8210" actId="5793"/>
        <pc:sldMkLst>
          <pc:docMk/>
          <pc:sldMk cId="2730702649" sldId="420"/>
        </pc:sldMkLst>
      </pc:sldChg>
      <pc:sldChg chg="modSp del mod">
        <pc:chgData name="Kory Thacher (APPS / POWERSHELL)" userId="995eb0f2-f21c-467c-a947-4f8fc26d0f2e" providerId="ADAL" clId="{90BE3EDE-F7E8-4C77-9892-0F40725CF1E6}" dt="2021-10-25T22:48:00.103" v="8248" actId="47"/>
        <pc:sldMkLst>
          <pc:docMk/>
          <pc:sldMk cId="2106266794" sldId="421"/>
        </pc:sldMkLst>
        <pc:graphicFrameChg chg="mod modGraphic">
          <ac:chgData name="Kory Thacher (APPS / POWERSHELL)" userId="995eb0f2-f21c-467c-a947-4f8fc26d0f2e" providerId="ADAL" clId="{90BE3EDE-F7E8-4C77-9892-0F40725CF1E6}" dt="2021-10-25T22:47:46.501" v="8246" actId="255"/>
          <ac:graphicFrameMkLst>
            <pc:docMk/>
            <pc:sldMk cId="2106266794" sldId="421"/>
            <ac:graphicFrameMk id="7" creationId="{7368B303-CF16-4220-B838-8FA9A1A56F31}"/>
          </ac:graphicFrameMkLst>
        </pc:graphicFrameChg>
      </pc:sldChg>
      <pc:sldChg chg="modSp mod modShow">
        <pc:chgData name="Kory Thacher (APPS / POWERSHELL)" userId="995eb0f2-f21c-467c-a947-4f8fc26d0f2e" providerId="ADAL" clId="{90BE3EDE-F7E8-4C77-9892-0F40725CF1E6}" dt="2021-10-25T22:47:58.414" v="8247" actId="729"/>
        <pc:sldMkLst>
          <pc:docMk/>
          <pc:sldMk cId="2681839817" sldId="422"/>
        </pc:sldMkLst>
        <pc:graphicFrameChg chg="mod">
          <ac:chgData name="Kory Thacher (APPS / POWERSHELL)" userId="995eb0f2-f21c-467c-a947-4f8fc26d0f2e" providerId="ADAL" clId="{90BE3EDE-F7E8-4C77-9892-0F40725CF1E6}" dt="2021-10-25T22:47:24.533" v="8242" actId="255"/>
          <ac:graphicFrameMkLst>
            <pc:docMk/>
            <pc:sldMk cId="2681839817" sldId="422"/>
            <ac:graphicFrameMk id="7" creationId="{7368B303-CF16-4220-B838-8FA9A1A56F31}"/>
          </ac:graphicFrameMkLst>
        </pc:graphicFrameChg>
      </pc:sldChg>
      <pc:sldChg chg="addSp modSp del mod modNotesTx">
        <pc:chgData name="Kory Thacher (APPS / POWERSHELL)" userId="995eb0f2-f21c-467c-a947-4f8fc26d0f2e" providerId="ADAL" clId="{90BE3EDE-F7E8-4C77-9892-0F40725CF1E6}" dt="2021-10-26T22:23:28.848" v="11091" actId="47"/>
        <pc:sldMkLst>
          <pc:docMk/>
          <pc:sldMk cId="105766532" sldId="423"/>
        </pc:sldMkLst>
        <pc:spChg chg="add">
          <ac:chgData name="Kory Thacher (APPS / POWERSHELL)" userId="995eb0f2-f21c-467c-a947-4f8fc26d0f2e" providerId="ADAL" clId="{90BE3EDE-F7E8-4C77-9892-0F40725CF1E6}" dt="2021-10-26T22:02:17.998" v="10434" actId="11529"/>
          <ac:spMkLst>
            <pc:docMk/>
            <pc:sldMk cId="105766532" sldId="423"/>
            <ac:spMk id="3" creationId="{6010480E-92A6-4BC2-8CBB-03F6924C4220}"/>
          </ac:spMkLst>
        </pc:spChg>
        <pc:spChg chg="add mod">
          <ac:chgData name="Kory Thacher (APPS / POWERSHELL)" userId="995eb0f2-f21c-467c-a947-4f8fc26d0f2e" providerId="ADAL" clId="{90BE3EDE-F7E8-4C77-9892-0F40725CF1E6}" dt="2021-10-26T22:02:21.999" v="10436" actId="1076"/>
          <ac:spMkLst>
            <pc:docMk/>
            <pc:sldMk cId="105766532" sldId="423"/>
            <ac:spMk id="5" creationId="{ABB3C4D6-2628-4FF8-957B-7D7AC3161BFC}"/>
          </ac:spMkLst>
        </pc:spChg>
        <pc:spChg chg="add mod">
          <ac:chgData name="Kory Thacher (APPS / POWERSHELL)" userId="995eb0f2-f21c-467c-a947-4f8fc26d0f2e" providerId="ADAL" clId="{90BE3EDE-F7E8-4C77-9892-0F40725CF1E6}" dt="2021-10-26T22:02:27.924" v="10439" actId="14100"/>
          <ac:spMkLst>
            <pc:docMk/>
            <pc:sldMk cId="105766532" sldId="423"/>
            <ac:spMk id="6" creationId="{C4055B3F-63AE-473F-AEE1-9A3D4DEB266C}"/>
          </ac:spMkLst>
        </pc:spChg>
        <pc:graphicFrameChg chg="mod">
          <ac:chgData name="Kory Thacher (APPS / POWERSHELL)" userId="995eb0f2-f21c-467c-a947-4f8fc26d0f2e" providerId="ADAL" clId="{90BE3EDE-F7E8-4C77-9892-0F40725CF1E6}" dt="2021-10-26T22:01:30.294" v="10433" actId="14100"/>
          <ac:graphicFrameMkLst>
            <pc:docMk/>
            <pc:sldMk cId="105766532" sldId="423"/>
            <ac:graphicFrameMk id="4" creationId="{30553AC0-86E7-48AD-AE50-152E2377470F}"/>
          </ac:graphicFrameMkLst>
        </pc:graphicFrameChg>
      </pc:sldChg>
      <pc:sldChg chg="modSp add del mod">
        <pc:chgData name="Kory Thacher (APPS / POWERSHELL)" userId="995eb0f2-f21c-467c-a947-4f8fc26d0f2e" providerId="ADAL" clId="{90BE3EDE-F7E8-4C77-9892-0F40725CF1E6}" dt="2021-10-25T22:46:56.984" v="8241" actId="47"/>
        <pc:sldMkLst>
          <pc:docMk/>
          <pc:sldMk cId="2056018747" sldId="423"/>
        </pc:sldMkLst>
        <pc:graphicFrameChg chg="mod modGraphic">
          <ac:chgData name="Kory Thacher (APPS / POWERSHELL)" userId="995eb0f2-f21c-467c-a947-4f8fc26d0f2e" providerId="ADAL" clId="{90BE3EDE-F7E8-4C77-9892-0F40725CF1E6}" dt="2021-10-25T22:46:42.441" v="8240" actId="255"/>
          <ac:graphicFrameMkLst>
            <pc:docMk/>
            <pc:sldMk cId="2056018747" sldId="423"/>
            <ac:graphicFrameMk id="7" creationId="{7368B303-CF16-4220-B838-8FA9A1A56F31}"/>
          </ac:graphicFrameMkLst>
        </pc:graphicFrameChg>
      </pc:sldChg>
      <pc:sldChg chg="delSp modSp del mod modNotesTx">
        <pc:chgData name="Kory Thacher (APPS / POWERSHELL)" userId="995eb0f2-f21c-467c-a947-4f8fc26d0f2e" providerId="ADAL" clId="{90BE3EDE-F7E8-4C77-9892-0F40725CF1E6}" dt="2021-10-26T22:27:21.403" v="11111" actId="47"/>
        <pc:sldMkLst>
          <pc:docMk/>
          <pc:sldMk cId="1782068415" sldId="424"/>
        </pc:sldMkLst>
        <pc:picChg chg="del mod">
          <ac:chgData name="Kory Thacher (APPS / POWERSHELL)" userId="995eb0f2-f21c-467c-a947-4f8fc26d0f2e" providerId="ADAL" clId="{90BE3EDE-F7E8-4C77-9892-0F40725CF1E6}" dt="2021-10-26T22:10:20.761" v="11027" actId="478"/>
          <ac:picMkLst>
            <pc:docMk/>
            <pc:sldMk cId="1782068415" sldId="424"/>
            <ac:picMk id="4" creationId="{E1CCB555-82AB-4F49-9F6D-49E4852B259C}"/>
          </ac:picMkLst>
        </pc:picChg>
        <pc:picChg chg="mod">
          <ac:chgData name="Kory Thacher (APPS / POWERSHELL)" userId="995eb0f2-f21c-467c-a947-4f8fc26d0f2e" providerId="ADAL" clId="{90BE3EDE-F7E8-4C77-9892-0F40725CF1E6}" dt="2021-10-26T22:10:22.956" v="11028" actId="1076"/>
          <ac:picMkLst>
            <pc:docMk/>
            <pc:sldMk cId="1782068415" sldId="424"/>
            <ac:picMk id="6" creationId="{9997B031-60AC-46A3-9852-3FAA335FC43E}"/>
          </ac:picMkLst>
        </pc:picChg>
        <pc:picChg chg="mod">
          <ac:chgData name="Kory Thacher (APPS / POWERSHELL)" userId="995eb0f2-f21c-467c-a947-4f8fc26d0f2e" providerId="ADAL" clId="{90BE3EDE-F7E8-4C77-9892-0F40725CF1E6}" dt="2021-10-26T22:15:51.886" v="11037" actId="1076"/>
          <ac:picMkLst>
            <pc:docMk/>
            <pc:sldMk cId="1782068415" sldId="424"/>
            <ac:picMk id="8" creationId="{DFA29E2F-49FB-41EA-978E-F862DBC28A99}"/>
          </ac:picMkLst>
        </pc:picChg>
        <pc:picChg chg="mod">
          <ac:chgData name="Kory Thacher (APPS / POWERSHELL)" userId="995eb0f2-f21c-467c-a947-4f8fc26d0f2e" providerId="ADAL" clId="{90BE3EDE-F7E8-4C77-9892-0F40725CF1E6}" dt="2021-10-26T22:15:55.175" v="11039" actId="14100"/>
          <ac:picMkLst>
            <pc:docMk/>
            <pc:sldMk cId="1782068415" sldId="424"/>
            <ac:picMk id="10" creationId="{66B74473-3D96-4A95-A168-4D3F9874AA43}"/>
          </ac:picMkLst>
        </pc:picChg>
        <pc:picChg chg="mod">
          <ac:chgData name="Kory Thacher (APPS / POWERSHELL)" userId="995eb0f2-f21c-467c-a947-4f8fc26d0f2e" providerId="ADAL" clId="{90BE3EDE-F7E8-4C77-9892-0F40725CF1E6}" dt="2021-10-26T22:17:15.762" v="11047" actId="1076"/>
          <ac:picMkLst>
            <pc:docMk/>
            <pc:sldMk cId="1782068415" sldId="424"/>
            <ac:picMk id="12" creationId="{0C4E1E6B-BD47-40B1-8DC1-24304F8F9709}"/>
          </ac:picMkLst>
        </pc:picChg>
        <pc:picChg chg="mod">
          <ac:chgData name="Kory Thacher (APPS / POWERSHELL)" userId="995eb0f2-f21c-467c-a947-4f8fc26d0f2e" providerId="ADAL" clId="{90BE3EDE-F7E8-4C77-9892-0F40725CF1E6}" dt="2021-10-26T22:15:36.444" v="11030" actId="1076"/>
          <ac:picMkLst>
            <pc:docMk/>
            <pc:sldMk cId="1782068415" sldId="424"/>
            <ac:picMk id="14" creationId="{ECFBD84D-2343-4EFE-82A7-903C15D550D5}"/>
          </ac:picMkLst>
        </pc:picChg>
        <pc:picChg chg="mod">
          <ac:chgData name="Kory Thacher (APPS / POWERSHELL)" userId="995eb0f2-f21c-467c-a947-4f8fc26d0f2e" providerId="ADAL" clId="{90BE3EDE-F7E8-4C77-9892-0F40725CF1E6}" dt="2021-10-26T22:17:15.130" v="11046" actId="1076"/>
          <ac:picMkLst>
            <pc:docMk/>
            <pc:sldMk cId="1782068415" sldId="424"/>
            <ac:picMk id="16" creationId="{5EB1F153-58E9-4935-B159-DDFF0DEFBFE0}"/>
          </ac:picMkLst>
        </pc:picChg>
      </pc:sldChg>
      <pc:sldChg chg="modSp add del mod">
        <pc:chgData name="Kory Thacher (APPS / POWERSHELL)" userId="995eb0f2-f21c-467c-a947-4f8fc26d0f2e" providerId="ADAL" clId="{90BE3EDE-F7E8-4C77-9892-0F40725CF1E6}" dt="2021-10-26T22:23:28.848" v="11091" actId="47"/>
        <pc:sldMkLst>
          <pc:docMk/>
          <pc:sldMk cId="2184681561" sldId="425"/>
        </pc:sldMkLst>
        <pc:spChg chg="mod">
          <ac:chgData name="Kory Thacher (APPS / POWERSHELL)" userId="995eb0f2-f21c-467c-a947-4f8fc26d0f2e" providerId="ADAL" clId="{90BE3EDE-F7E8-4C77-9892-0F40725CF1E6}" dt="2021-10-26T22:03:33.109" v="10445" actId="14100"/>
          <ac:spMkLst>
            <pc:docMk/>
            <pc:sldMk cId="2184681561" sldId="425"/>
            <ac:spMk id="3" creationId="{6010480E-92A6-4BC2-8CBB-03F6924C4220}"/>
          </ac:spMkLst>
        </pc:spChg>
        <pc:spChg chg="mod">
          <ac:chgData name="Kory Thacher (APPS / POWERSHELL)" userId="995eb0f2-f21c-467c-a947-4f8fc26d0f2e" providerId="ADAL" clId="{90BE3EDE-F7E8-4C77-9892-0F40725CF1E6}" dt="2021-10-26T22:03:35.986" v="10446" actId="14100"/>
          <ac:spMkLst>
            <pc:docMk/>
            <pc:sldMk cId="2184681561" sldId="425"/>
            <ac:spMk id="5" creationId="{ABB3C4D6-2628-4FF8-957B-7D7AC3161BFC}"/>
          </ac:spMkLst>
        </pc:spChg>
        <pc:spChg chg="mod">
          <ac:chgData name="Kory Thacher (APPS / POWERSHELL)" userId="995eb0f2-f21c-467c-a947-4f8fc26d0f2e" providerId="ADAL" clId="{90BE3EDE-F7E8-4C77-9892-0F40725CF1E6}" dt="2021-10-26T22:03:29.530" v="10444" actId="14100"/>
          <ac:spMkLst>
            <pc:docMk/>
            <pc:sldMk cId="2184681561" sldId="425"/>
            <ac:spMk id="6" creationId="{C4055B3F-63AE-473F-AEE1-9A3D4DEB266C}"/>
          </ac:spMkLst>
        </pc:spChg>
        <pc:graphicFrameChg chg="mod">
          <ac:chgData name="Kory Thacher (APPS / POWERSHELL)" userId="995eb0f2-f21c-467c-a947-4f8fc26d0f2e" providerId="ADAL" clId="{90BE3EDE-F7E8-4C77-9892-0F40725CF1E6}" dt="2021-10-26T22:03:24.118" v="10442" actId="14100"/>
          <ac:graphicFrameMkLst>
            <pc:docMk/>
            <pc:sldMk cId="2184681561" sldId="425"/>
            <ac:graphicFrameMk id="4" creationId="{30553AC0-86E7-48AD-AE50-152E2377470F}"/>
          </ac:graphicFrameMkLst>
        </pc:graphicFrameChg>
      </pc:sldChg>
      <pc:sldChg chg="modSp add del modNotesTx">
        <pc:chgData name="Kory Thacher (APPS / POWERSHELL)" userId="995eb0f2-f21c-467c-a947-4f8fc26d0f2e" providerId="ADAL" clId="{90BE3EDE-F7E8-4C77-9892-0F40725CF1E6}" dt="2021-10-26T22:23:28.848" v="11091" actId="47"/>
        <pc:sldMkLst>
          <pc:docMk/>
          <pc:sldMk cId="2868983357" sldId="426"/>
        </pc:sldMkLst>
        <pc:graphicFrameChg chg="mod">
          <ac:chgData name="Kory Thacher (APPS / POWERSHELL)" userId="995eb0f2-f21c-467c-a947-4f8fc26d0f2e" providerId="ADAL" clId="{90BE3EDE-F7E8-4C77-9892-0F40725CF1E6}" dt="2021-10-26T22:05:03.606" v="10546" actId="20577"/>
          <ac:graphicFrameMkLst>
            <pc:docMk/>
            <pc:sldMk cId="2868983357" sldId="426"/>
            <ac:graphicFrameMk id="4" creationId="{30553AC0-86E7-48AD-AE50-152E2377470F}"/>
          </ac:graphicFrameMkLst>
        </pc:graphicFrameChg>
      </pc:sldChg>
      <pc:sldChg chg="addSp delSp modSp add del mod ord">
        <pc:chgData name="Kory Thacher (APPS / POWERSHELL)" userId="995eb0f2-f21c-467c-a947-4f8fc26d0f2e" providerId="ADAL" clId="{90BE3EDE-F7E8-4C77-9892-0F40725CF1E6}" dt="2021-10-26T22:26:37.500" v="11108" actId="47"/>
        <pc:sldMkLst>
          <pc:docMk/>
          <pc:sldMk cId="4234472007" sldId="427"/>
        </pc:sldMkLst>
        <pc:spChg chg="del">
          <ac:chgData name="Kory Thacher (APPS / POWERSHELL)" userId="995eb0f2-f21c-467c-a947-4f8fc26d0f2e" providerId="ADAL" clId="{90BE3EDE-F7E8-4C77-9892-0F40725CF1E6}" dt="2021-10-26T22:17:20.913" v="11048" actId="478"/>
          <ac:spMkLst>
            <pc:docMk/>
            <pc:sldMk cId="4234472007" sldId="427"/>
            <ac:spMk id="3" creationId="{6010480E-92A6-4BC2-8CBB-03F6924C4220}"/>
          </ac:spMkLst>
        </pc:spChg>
        <pc:spChg chg="del">
          <ac:chgData name="Kory Thacher (APPS / POWERSHELL)" userId="995eb0f2-f21c-467c-a947-4f8fc26d0f2e" providerId="ADAL" clId="{90BE3EDE-F7E8-4C77-9892-0F40725CF1E6}" dt="2021-10-26T22:17:21.517" v="11049" actId="478"/>
          <ac:spMkLst>
            <pc:docMk/>
            <pc:sldMk cId="4234472007" sldId="427"/>
            <ac:spMk id="5" creationId="{ABB3C4D6-2628-4FF8-957B-7D7AC3161BFC}"/>
          </ac:spMkLst>
        </pc:spChg>
        <pc:spChg chg="del">
          <ac:chgData name="Kory Thacher (APPS / POWERSHELL)" userId="995eb0f2-f21c-467c-a947-4f8fc26d0f2e" providerId="ADAL" clId="{90BE3EDE-F7E8-4C77-9892-0F40725CF1E6}" dt="2021-10-26T22:17:21.851" v="11050" actId="478"/>
          <ac:spMkLst>
            <pc:docMk/>
            <pc:sldMk cId="4234472007" sldId="427"/>
            <ac:spMk id="6" creationId="{C4055B3F-63AE-473F-AEE1-9A3D4DEB266C}"/>
          </ac:spMkLst>
        </pc:spChg>
        <pc:spChg chg="add mod">
          <ac:chgData name="Kory Thacher (APPS / POWERSHELL)" userId="995eb0f2-f21c-467c-a947-4f8fc26d0f2e" providerId="ADAL" clId="{90BE3EDE-F7E8-4C77-9892-0F40725CF1E6}" dt="2021-10-26T22:26:21.480" v="11107" actId="11529"/>
          <ac:spMkLst>
            <pc:docMk/>
            <pc:sldMk cId="4234472007" sldId="427"/>
            <ac:spMk id="10" creationId="{DB903EF0-7313-4C7A-B791-8D0FAD17E30A}"/>
          </ac:spMkLst>
        </pc:spChg>
        <pc:graphicFrameChg chg="del mod">
          <ac:chgData name="Kory Thacher (APPS / POWERSHELL)" userId="995eb0f2-f21c-467c-a947-4f8fc26d0f2e" providerId="ADAL" clId="{90BE3EDE-F7E8-4C77-9892-0F40725CF1E6}" dt="2021-10-26T22:26:21.480" v="11107" actId="11529"/>
          <ac:graphicFrameMkLst>
            <pc:docMk/>
            <pc:sldMk cId="4234472007" sldId="427"/>
            <ac:graphicFrameMk id="4" creationId="{30553AC0-86E7-48AD-AE50-152E2377470F}"/>
          </ac:graphicFrameMkLst>
        </pc:graphicFrameChg>
        <pc:picChg chg="add del mod">
          <ac:chgData name="Kory Thacher (APPS / POWERSHELL)" userId="995eb0f2-f21c-467c-a947-4f8fc26d0f2e" providerId="ADAL" clId="{90BE3EDE-F7E8-4C77-9892-0F40725CF1E6}" dt="2021-10-26T22:17:47.330" v="11054" actId="478"/>
          <ac:picMkLst>
            <pc:docMk/>
            <pc:sldMk cId="4234472007" sldId="427"/>
            <ac:picMk id="7" creationId="{C5375360-D36E-4EF9-ACE6-0BD30C728858}"/>
          </ac:picMkLst>
        </pc:picChg>
        <pc:picChg chg="add mod">
          <ac:chgData name="Kory Thacher (APPS / POWERSHELL)" userId="995eb0f2-f21c-467c-a947-4f8fc26d0f2e" providerId="ADAL" clId="{90BE3EDE-F7E8-4C77-9892-0F40725CF1E6}" dt="2021-10-26T22:26:15.607" v="11106" actId="1076"/>
          <ac:picMkLst>
            <pc:docMk/>
            <pc:sldMk cId="4234472007" sldId="427"/>
            <ac:picMk id="8" creationId="{A1479ED6-D3CC-42CD-9465-7CF4CEA4FD78}"/>
          </ac:picMkLst>
        </pc:picChg>
        <pc:picChg chg="add mod modCrop">
          <ac:chgData name="Kory Thacher (APPS / POWERSHELL)" userId="995eb0f2-f21c-467c-a947-4f8fc26d0f2e" providerId="ADAL" clId="{90BE3EDE-F7E8-4C77-9892-0F40725CF1E6}" dt="2021-10-26T22:26:13.813" v="11105" actId="1076"/>
          <ac:picMkLst>
            <pc:docMk/>
            <pc:sldMk cId="4234472007" sldId="427"/>
            <ac:picMk id="9" creationId="{D1239504-1450-43C1-90AD-2A29E6694784}"/>
          </ac:picMkLst>
        </pc:picChg>
      </pc:sldChg>
      <pc:sldChg chg="modSp add del mod">
        <pc:chgData name="Kory Thacher (APPS / POWERSHELL)" userId="995eb0f2-f21c-467c-a947-4f8fc26d0f2e" providerId="ADAL" clId="{90BE3EDE-F7E8-4C77-9892-0F40725CF1E6}" dt="2021-10-26T22:25:15.953" v="11104" actId="47"/>
        <pc:sldMkLst>
          <pc:docMk/>
          <pc:sldMk cId="11073836" sldId="428"/>
        </pc:sldMkLst>
        <pc:graphicFrameChg chg="mod">
          <ac:chgData name="Kory Thacher (APPS / POWERSHELL)" userId="995eb0f2-f21c-467c-a947-4f8fc26d0f2e" providerId="ADAL" clId="{90BE3EDE-F7E8-4C77-9892-0F40725CF1E6}" dt="2021-10-26T22:25:09.513" v="11103" actId="13782"/>
          <ac:graphicFrameMkLst>
            <pc:docMk/>
            <pc:sldMk cId="11073836" sldId="428"/>
            <ac:graphicFrameMk id="4" creationId="{30553AC0-86E7-48AD-AE50-152E2377470F}"/>
          </ac:graphicFrameMkLst>
        </pc:graphicFrameChg>
        <pc:picChg chg="mod">
          <ac:chgData name="Kory Thacher (APPS / POWERSHELL)" userId="995eb0f2-f21c-467c-a947-4f8fc26d0f2e" providerId="ADAL" clId="{90BE3EDE-F7E8-4C77-9892-0F40725CF1E6}" dt="2021-10-26T22:24:14.367" v="11100" actId="1076"/>
          <ac:picMkLst>
            <pc:docMk/>
            <pc:sldMk cId="11073836" sldId="428"/>
            <ac:picMk id="8" creationId="{A1479ED6-D3CC-42CD-9465-7CF4CEA4FD78}"/>
          </ac:picMkLst>
        </pc:picChg>
        <pc:picChg chg="mod">
          <ac:chgData name="Kory Thacher (APPS / POWERSHELL)" userId="995eb0f2-f21c-467c-a947-4f8fc26d0f2e" providerId="ADAL" clId="{90BE3EDE-F7E8-4C77-9892-0F40725CF1E6}" dt="2021-10-26T22:24:18.782" v="11101" actId="1076"/>
          <ac:picMkLst>
            <pc:docMk/>
            <pc:sldMk cId="11073836" sldId="428"/>
            <ac:picMk id="9" creationId="{D1239504-1450-43C1-90AD-2A29E6694784}"/>
          </ac:picMkLst>
        </pc:picChg>
      </pc:sldChg>
      <pc:sldChg chg="addSp delSp modSp add del mod">
        <pc:chgData name="Kory Thacher (APPS / POWERSHELL)" userId="995eb0f2-f21c-467c-a947-4f8fc26d0f2e" providerId="ADAL" clId="{90BE3EDE-F7E8-4C77-9892-0F40725CF1E6}" dt="2021-10-26T22:21:20.851" v="11080" actId="47"/>
        <pc:sldMkLst>
          <pc:docMk/>
          <pc:sldMk cId="3425982367" sldId="428"/>
        </pc:sldMkLst>
        <pc:picChg chg="add del mod">
          <ac:chgData name="Kory Thacher (APPS / POWERSHELL)" userId="995eb0f2-f21c-467c-a947-4f8fc26d0f2e" providerId="ADAL" clId="{90BE3EDE-F7E8-4C77-9892-0F40725CF1E6}" dt="2021-10-26T22:21:11.131" v="11076" actId="478"/>
          <ac:picMkLst>
            <pc:docMk/>
            <pc:sldMk cId="3425982367" sldId="428"/>
            <ac:picMk id="6" creationId="{9B4767A9-C14E-4256-8275-89E9A433978E}"/>
          </ac:picMkLst>
        </pc:picChg>
        <pc:picChg chg="mod">
          <ac:chgData name="Kory Thacher (APPS / POWERSHELL)" userId="995eb0f2-f21c-467c-a947-4f8fc26d0f2e" providerId="ADAL" clId="{90BE3EDE-F7E8-4C77-9892-0F40725CF1E6}" dt="2021-10-26T22:21:13.566" v="11078" actId="1076"/>
          <ac:picMkLst>
            <pc:docMk/>
            <pc:sldMk cId="3425982367" sldId="428"/>
            <ac:picMk id="8" creationId="{A1479ED6-D3CC-42CD-9465-7CF4CEA4FD78}"/>
          </ac:picMkLst>
        </pc:picChg>
        <pc:picChg chg="mod">
          <ac:chgData name="Kory Thacher (APPS / POWERSHELL)" userId="995eb0f2-f21c-467c-a947-4f8fc26d0f2e" providerId="ADAL" clId="{90BE3EDE-F7E8-4C77-9892-0F40725CF1E6}" dt="2021-10-26T22:21:15.632" v="11079" actId="1076"/>
          <ac:picMkLst>
            <pc:docMk/>
            <pc:sldMk cId="3425982367" sldId="428"/>
            <ac:picMk id="9" creationId="{D1239504-1450-43C1-90AD-2A29E6694784}"/>
          </ac:picMkLst>
        </pc:picChg>
      </pc:sldChg>
      <pc:sldChg chg="modSp mod">
        <pc:chgData name="Kory Thacher (APPS / POWERSHELL)" userId="995eb0f2-f21c-467c-a947-4f8fc26d0f2e" providerId="ADAL" clId="{90BE3EDE-F7E8-4C77-9892-0F40725CF1E6}" dt="2021-10-26T22:27:12.396" v="11110" actId="1440"/>
        <pc:sldMkLst>
          <pc:docMk/>
          <pc:sldMk cId="2846242891" sldId="429"/>
        </pc:sldMkLst>
        <pc:picChg chg="mod">
          <ac:chgData name="Kory Thacher (APPS / POWERSHELL)" userId="995eb0f2-f21c-467c-a947-4f8fc26d0f2e" providerId="ADAL" clId="{90BE3EDE-F7E8-4C77-9892-0F40725CF1E6}" dt="2021-10-26T22:26:53.204" v="11109" actId="1440"/>
          <ac:picMkLst>
            <pc:docMk/>
            <pc:sldMk cId="2846242891" sldId="429"/>
            <ac:picMk id="8" creationId="{A1479ED6-D3CC-42CD-9465-7CF4CEA4FD78}"/>
          </ac:picMkLst>
        </pc:picChg>
        <pc:picChg chg="mod">
          <ac:chgData name="Kory Thacher (APPS / POWERSHELL)" userId="995eb0f2-f21c-467c-a947-4f8fc26d0f2e" providerId="ADAL" clId="{90BE3EDE-F7E8-4C77-9892-0F40725CF1E6}" dt="2021-10-26T22:27:12.396" v="11110" actId="1440"/>
          <ac:picMkLst>
            <pc:docMk/>
            <pc:sldMk cId="2846242891" sldId="429"/>
            <ac:picMk id="9" creationId="{D1239504-1450-43C1-90AD-2A29E6694784}"/>
          </ac:picMkLst>
        </pc:picChg>
      </pc:sldChg>
      <pc:sldChg chg="modSp add">
        <pc:chgData name="Kory Thacher (APPS / POWERSHELL)" userId="995eb0f2-f21c-467c-a947-4f8fc26d0f2e" providerId="ADAL" clId="{90BE3EDE-F7E8-4C77-9892-0F40725CF1E6}" dt="2021-10-26T22:47:58.982" v="11116" actId="207"/>
        <pc:sldMkLst>
          <pc:docMk/>
          <pc:sldMk cId="442654875" sldId="431"/>
        </pc:sldMkLst>
        <pc:graphicFrameChg chg="mod">
          <ac:chgData name="Kory Thacher (APPS / POWERSHELL)" userId="995eb0f2-f21c-467c-a947-4f8fc26d0f2e" providerId="ADAL" clId="{90BE3EDE-F7E8-4C77-9892-0F40725CF1E6}" dt="2021-10-26T22:47:58.982" v="11116" actId="207"/>
          <ac:graphicFrameMkLst>
            <pc:docMk/>
            <pc:sldMk cId="442654875" sldId="431"/>
            <ac:graphicFrameMk id="7" creationId="{7368B303-CF16-4220-B838-8FA9A1A56F31}"/>
          </ac:graphicFrameMkLst>
        </pc:graphicFrameChg>
      </pc:sldChg>
    </pc:docChg>
  </pc:docChgLst>
  <pc:docChgLst>
    <pc:chgData name="Kory Thacher (APPS / POWERSHELL)" userId="995eb0f2-f21c-467c-a947-4f8fc26d0f2e" providerId="ADAL" clId="{40CF497A-24D5-40A1-86B5-19F0D7D70B4B}"/>
    <pc:docChg chg="undo custSel addSld delSld modSld sldOrd modSection">
      <pc:chgData name="Kory Thacher (APPS / POWERSHELL)" userId="995eb0f2-f21c-467c-a947-4f8fc26d0f2e" providerId="ADAL" clId="{40CF497A-24D5-40A1-86B5-19F0D7D70B4B}" dt="2021-10-12T17:37:21.722" v="443" actId="20577"/>
      <pc:docMkLst>
        <pc:docMk/>
      </pc:docMkLst>
      <pc:sldChg chg="modSp mod">
        <pc:chgData name="Kory Thacher (APPS / POWERSHELL)" userId="995eb0f2-f21c-467c-a947-4f8fc26d0f2e" providerId="ADAL" clId="{40CF497A-24D5-40A1-86B5-19F0D7D70B4B}" dt="2021-10-12T17:14:53.253" v="172" actId="14100"/>
        <pc:sldMkLst>
          <pc:docMk/>
          <pc:sldMk cId="1410895066" sldId="262"/>
        </pc:sldMkLst>
        <pc:spChg chg="mod">
          <ac:chgData name="Kory Thacher (APPS / POWERSHELL)" userId="995eb0f2-f21c-467c-a947-4f8fc26d0f2e" providerId="ADAL" clId="{40CF497A-24D5-40A1-86B5-19F0D7D70B4B}" dt="2021-10-12T17:14:53.253" v="172" actId="14100"/>
          <ac:spMkLst>
            <pc:docMk/>
            <pc:sldMk cId="1410895066" sldId="262"/>
            <ac:spMk id="3" creationId="{301F33A8-98C4-43C6-9C18-6E714774A0D2}"/>
          </ac:spMkLst>
        </pc:spChg>
      </pc:sldChg>
      <pc:sldChg chg="modSp mod">
        <pc:chgData name="Kory Thacher (APPS / POWERSHELL)" userId="995eb0f2-f21c-467c-a947-4f8fc26d0f2e" providerId="ADAL" clId="{40CF497A-24D5-40A1-86B5-19F0D7D70B4B}" dt="2021-09-30T22:59:42.970" v="1" actId="1076"/>
        <pc:sldMkLst>
          <pc:docMk/>
          <pc:sldMk cId="2386969107" sldId="264"/>
        </pc:sldMkLst>
        <pc:spChg chg="mod">
          <ac:chgData name="Kory Thacher (APPS / POWERSHELL)" userId="995eb0f2-f21c-467c-a947-4f8fc26d0f2e" providerId="ADAL" clId="{40CF497A-24D5-40A1-86B5-19F0D7D70B4B}" dt="2021-09-30T22:59:42.970" v="1" actId="1076"/>
          <ac:spMkLst>
            <pc:docMk/>
            <pc:sldMk cId="2386969107" sldId="264"/>
            <ac:spMk id="22" creationId="{1E20DEF0-AB32-4AA2-862C-1D8516461B10}"/>
          </ac:spMkLst>
        </pc:spChg>
      </pc:sldChg>
      <pc:sldChg chg="modSp mod">
        <pc:chgData name="Kory Thacher (APPS / POWERSHELL)" userId="995eb0f2-f21c-467c-a947-4f8fc26d0f2e" providerId="ADAL" clId="{40CF497A-24D5-40A1-86B5-19F0D7D70B4B}" dt="2021-10-12T17:25:05.531" v="198" actId="14100"/>
        <pc:sldMkLst>
          <pc:docMk/>
          <pc:sldMk cId="1631740724" sldId="304"/>
        </pc:sldMkLst>
        <pc:spChg chg="mod">
          <ac:chgData name="Kory Thacher (APPS / POWERSHELL)" userId="995eb0f2-f21c-467c-a947-4f8fc26d0f2e" providerId="ADAL" clId="{40CF497A-24D5-40A1-86B5-19F0D7D70B4B}" dt="2021-10-12T17:25:05.531" v="198" actId="14100"/>
          <ac:spMkLst>
            <pc:docMk/>
            <pc:sldMk cId="1631740724" sldId="304"/>
            <ac:spMk id="3" creationId="{D35E80B6-4CC8-4E1C-B150-22748CC763E0}"/>
          </ac:spMkLst>
        </pc:spChg>
        <pc:graphicFrameChg chg="modGraphic">
          <ac:chgData name="Kory Thacher (APPS / POWERSHELL)" userId="995eb0f2-f21c-467c-a947-4f8fc26d0f2e" providerId="ADAL" clId="{40CF497A-24D5-40A1-86B5-19F0D7D70B4B}" dt="2021-10-12T17:23:30.343" v="196" actId="14734"/>
          <ac:graphicFrameMkLst>
            <pc:docMk/>
            <pc:sldMk cId="1631740724" sldId="304"/>
            <ac:graphicFrameMk id="9" creationId="{00000000-0000-0000-0000-000000000000}"/>
          </ac:graphicFrameMkLst>
        </pc:graphicFrameChg>
      </pc:sldChg>
      <pc:sldChg chg="modSp add del mod ord setBg">
        <pc:chgData name="Kory Thacher (APPS / POWERSHELL)" userId="995eb0f2-f21c-467c-a947-4f8fc26d0f2e" providerId="ADAL" clId="{40CF497A-24D5-40A1-86B5-19F0D7D70B4B}" dt="2021-10-12T17:37:05.542" v="436" actId="47"/>
        <pc:sldMkLst>
          <pc:docMk/>
          <pc:sldMk cId="2973058930" sldId="317"/>
        </pc:sldMkLst>
        <pc:spChg chg="mod">
          <ac:chgData name="Kory Thacher (APPS / POWERSHELL)" userId="995eb0f2-f21c-467c-a947-4f8fc26d0f2e" providerId="ADAL" clId="{40CF497A-24D5-40A1-86B5-19F0D7D70B4B}" dt="2021-10-12T17:06:56.629" v="11" actId="20577"/>
          <ac:spMkLst>
            <pc:docMk/>
            <pc:sldMk cId="2973058930" sldId="317"/>
            <ac:spMk id="2" creationId="{0D571322-9F37-477D-9B5B-EBF49D8B1DE4}"/>
          </ac:spMkLst>
        </pc:spChg>
        <pc:graphicFrameChg chg="mod">
          <ac:chgData name="Kory Thacher (APPS / POWERSHELL)" userId="995eb0f2-f21c-467c-a947-4f8fc26d0f2e" providerId="ADAL" clId="{40CF497A-24D5-40A1-86B5-19F0D7D70B4B}" dt="2021-10-12T17:26:39.853" v="200"/>
          <ac:graphicFrameMkLst>
            <pc:docMk/>
            <pc:sldMk cId="2973058930" sldId="317"/>
            <ac:graphicFrameMk id="7" creationId="{7368B303-CF16-4220-B838-8FA9A1A56F31}"/>
          </ac:graphicFrameMkLst>
        </pc:graphicFrameChg>
      </pc:sldChg>
      <pc:sldChg chg="addSp delSp modSp add mod modShow">
        <pc:chgData name="Kory Thacher (APPS / POWERSHELL)" userId="995eb0f2-f21c-467c-a947-4f8fc26d0f2e" providerId="ADAL" clId="{40CF497A-24D5-40A1-86B5-19F0D7D70B4B}" dt="2021-10-12T17:37:21.722" v="443" actId="20577"/>
        <pc:sldMkLst>
          <pc:docMk/>
          <pc:sldMk cId="878304386" sldId="318"/>
        </pc:sldMkLst>
        <pc:spChg chg="mod">
          <ac:chgData name="Kory Thacher (APPS / POWERSHELL)" userId="995eb0f2-f21c-467c-a947-4f8fc26d0f2e" providerId="ADAL" clId="{40CF497A-24D5-40A1-86B5-19F0D7D70B4B}" dt="2021-10-12T17:37:21.722" v="443" actId="20577"/>
          <ac:spMkLst>
            <pc:docMk/>
            <pc:sldMk cId="878304386" sldId="318"/>
            <ac:spMk id="2" creationId="{0D571322-9F37-477D-9B5B-EBF49D8B1DE4}"/>
          </ac:spMkLst>
        </pc:spChg>
        <pc:graphicFrameChg chg="add del mod">
          <ac:chgData name="Kory Thacher (APPS / POWERSHELL)" userId="995eb0f2-f21c-467c-a947-4f8fc26d0f2e" providerId="ADAL" clId="{40CF497A-24D5-40A1-86B5-19F0D7D70B4B}" dt="2021-10-12T17:34:40.035" v="434" actId="478"/>
          <ac:graphicFrameMkLst>
            <pc:docMk/>
            <pc:sldMk cId="878304386" sldId="318"/>
            <ac:graphicFrameMk id="4" creationId="{0A39272A-BA5D-40B9-8770-4E5CA7E64DCC}"/>
          </ac:graphicFrameMkLst>
        </pc:graphicFrameChg>
        <pc:graphicFrameChg chg="mod">
          <ac:chgData name="Kory Thacher (APPS / POWERSHELL)" userId="995eb0f2-f21c-467c-a947-4f8fc26d0f2e" providerId="ADAL" clId="{40CF497A-24D5-40A1-86B5-19F0D7D70B4B}" dt="2021-10-12T17:34:43.586" v="435" actId="14100"/>
          <ac:graphicFrameMkLst>
            <pc:docMk/>
            <pc:sldMk cId="878304386" sldId="318"/>
            <ac:graphicFrameMk id="7" creationId="{7368B303-CF16-4220-B838-8FA9A1A56F31}"/>
          </ac:graphicFrameMkLst>
        </pc:graphicFrameChg>
      </pc:sldChg>
    </pc:docChg>
  </pc:docChgLst>
  <pc:docChgLst>
    <pc:chgData name="Tony Radkiewicz" userId="9832534a-7e4f-4058-9c41-7f4a5b855c95" providerId="ADAL" clId="{1865DC21-F3BB-4A83-9CBC-F78266063DBF}"/>
    <pc:docChg chg="">
      <pc:chgData name="Tony Radkiewicz" userId="9832534a-7e4f-4058-9c41-7f4a5b855c95" providerId="ADAL" clId="{1865DC21-F3BB-4A83-9CBC-F78266063DBF}" dt="2021-10-12T17:19:46.014" v="0"/>
      <pc:docMkLst>
        <pc:docMk/>
      </pc:docMkLst>
      <pc:sldChg chg="addCm">
        <pc:chgData name="Tony Radkiewicz" userId="9832534a-7e4f-4058-9c41-7f4a5b855c95" providerId="ADAL" clId="{1865DC21-F3BB-4A83-9CBC-F78266063DBF}" dt="2021-10-12T17:19:46.014" v="0"/>
        <pc:sldMkLst>
          <pc:docMk/>
          <pc:sldMk cId="1410895066" sldId="262"/>
        </pc:sldMkLst>
      </pc:sldChg>
    </pc:docChg>
  </pc:docChgLst>
  <pc:docChgLst>
    <pc:chgData name="Kory Thacher (APPS / POWERSHELL)" userId="995eb0f2-f21c-467c-a947-4f8fc26d0f2e" providerId="ADAL" clId="{92B7411D-A499-41BE-B0E0-3A9A8450CB0B}"/>
    <pc:docChg chg="undo custSel addSld delSld modSld sldOrd modSection">
      <pc:chgData name="Kory Thacher (APPS / POWERSHELL)" userId="995eb0f2-f21c-467c-a947-4f8fc26d0f2e" providerId="ADAL" clId="{92B7411D-A499-41BE-B0E0-3A9A8450CB0B}" dt="2022-04-18T21:30:22.889" v="20" actId="47"/>
      <pc:docMkLst>
        <pc:docMk/>
      </pc:docMkLst>
      <pc:sldChg chg="modCm">
        <pc:chgData name="Kory Thacher (APPS / POWERSHELL)" userId="995eb0f2-f21c-467c-a947-4f8fc26d0f2e" providerId="ADAL" clId="{92B7411D-A499-41BE-B0E0-3A9A8450CB0B}" dt="2022-04-11T18:39:56.402" v="0"/>
        <pc:sldMkLst>
          <pc:docMk/>
          <pc:sldMk cId="2706938236" sldId="258"/>
        </pc:sldMkLst>
      </pc:sldChg>
      <pc:sldChg chg="modCm">
        <pc:chgData name="Kory Thacher (APPS / POWERSHELL)" userId="995eb0f2-f21c-467c-a947-4f8fc26d0f2e" providerId="ADAL" clId="{92B7411D-A499-41BE-B0E0-3A9A8450CB0B}" dt="2022-04-18T21:27:01.674" v="13"/>
        <pc:sldMkLst>
          <pc:docMk/>
          <pc:sldMk cId="4188363282" sldId="370"/>
        </pc:sldMkLst>
      </pc:sldChg>
      <pc:sldChg chg="mod ord modShow modCm">
        <pc:chgData name="Kory Thacher (APPS / POWERSHELL)" userId="995eb0f2-f21c-467c-a947-4f8fc26d0f2e" providerId="ADAL" clId="{92B7411D-A499-41BE-B0E0-3A9A8450CB0B}" dt="2022-04-18T21:29:42.713" v="19"/>
        <pc:sldMkLst>
          <pc:docMk/>
          <pc:sldMk cId="3367862728" sldId="381"/>
        </pc:sldMkLst>
      </pc:sldChg>
      <pc:sldChg chg="mod modShow">
        <pc:chgData name="Kory Thacher (APPS / POWERSHELL)" userId="995eb0f2-f21c-467c-a947-4f8fc26d0f2e" providerId="ADAL" clId="{92B7411D-A499-41BE-B0E0-3A9A8450CB0B}" dt="2022-04-18T21:28:49.039" v="17" actId="729"/>
        <pc:sldMkLst>
          <pc:docMk/>
          <pc:sldMk cId="3259924927" sldId="403"/>
        </pc:sldMkLst>
      </pc:sldChg>
      <pc:sldChg chg="del">
        <pc:chgData name="Kory Thacher (APPS / POWERSHELL)" userId="995eb0f2-f21c-467c-a947-4f8fc26d0f2e" providerId="ADAL" clId="{92B7411D-A499-41BE-B0E0-3A9A8450CB0B}" dt="2022-04-18T21:30:22.889" v="20" actId="47"/>
        <pc:sldMkLst>
          <pc:docMk/>
          <pc:sldMk cId="2681839817" sldId="422"/>
        </pc:sldMkLst>
      </pc:sldChg>
      <pc:sldChg chg="modSp add del mod modShow delCm">
        <pc:chgData name="Kory Thacher (APPS / POWERSHELL)" userId="995eb0f2-f21c-467c-a947-4f8fc26d0f2e" providerId="ADAL" clId="{92B7411D-A499-41BE-B0E0-3A9A8450CB0B}" dt="2022-04-18T21:26:06.694" v="11" actId="47"/>
        <pc:sldMkLst>
          <pc:docMk/>
          <pc:sldMk cId="172246181" sldId="432"/>
        </pc:sldMkLst>
        <pc:picChg chg="mod">
          <ac:chgData name="Kory Thacher (APPS / POWERSHELL)" userId="995eb0f2-f21c-467c-a947-4f8fc26d0f2e" providerId="ADAL" clId="{92B7411D-A499-41BE-B0E0-3A9A8450CB0B}" dt="2022-04-18T21:23:44.534" v="4" actId="1440"/>
          <ac:picMkLst>
            <pc:docMk/>
            <pc:sldMk cId="172246181" sldId="432"/>
            <ac:picMk id="4" creationId="{CFCC55E9-B24C-2639-8E37-62B54FDC7AC1}"/>
          </ac:picMkLst>
        </pc:picChg>
        <pc:picChg chg="mod">
          <ac:chgData name="Kory Thacher (APPS / POWERSHELL)" userId="995eb0f2-f21c-467c-a947-4f8fc26d0f2e" providerId="ADAL" clId="{92B7411D-A499-41BE-B0E0-3A9A8450CB0B}" dt="2022-04-18T21:23:55.010" v="5" actId="1440"/>
          <ac:picMkLst>
            <pc:docMk/>
            <pc:sldMk cId="172246181" sldId="432"/>
            <ac:picMk id="6" creationId="{BE5B7C03-58DC-8C88-705E-3EEFBA13C961}"/>
          </ac:picMkLst>
        </pc:picChg>
      </pc:sldChg>
      <pc:sldChg chg="modSp add mod">
        <pc:chgData name="Kory Thacher (APPS / POWERSHELL)" userId="995eb0f2-f21c-467c-a947-4f8fc26d0f2e" providerId="ADAL" clId="{92B7411D-A499-41BE-B0E0-3A9A8450CB0B}" dt="2022-04-18T21:24:19.464" v="9" actId="1076"/>
        <pc:sldMkLst>
          <pc:docMk/>
          <pc:sldMk cId="569769290" sldId="433"/>
        </pc:sldMkLst>
        <pc:picChg chg="mod">
          <ac:chgData name="Kory Thacher (APPS / POWERSHELL)" userId="995eb0f2-f21c-467c-a947-4f8fc26d0f2e" providerId="ADAL" clId="{92B7411D-A499-41BE-B0E0-3A9A8450CB0B}" dt="2022-04-18T21:24:19.464" v="9" actId="1076"/>
          <ac:picMkLst>
            <pc:docMk/>
            <pc:sldMk cId="569769290" sldId="433"/>
            <ac:picMk id="6" creationId="{BE5B7C03-58DC-8C88-705E-3EEFBA13C961}"/>
          </ac:picMkLst>
        </pc:picChg>
      </pc:sldChg>
    </pc:docChg>
  </pc:docChgLst>
  <pc:docChgLst>
    <pc:chgData name="Kory Thacher" userId="995eb0f2-f21c-467c-a947-4f8fc26d0f2e" providerId="ADAL" clId="{22DE1CF6-66D8-4F59-B2B7-FAAA354FB428}"/>
    <pc:docChg chg="modSld">
      <pc:chgData name="Kory Thacher" userId="995eb0f2-f21c-467c-a947-4f8fc26d0f2e" providerId="ADAL" clId="{22DE1CF6-66D8-4F59-B2B7-FAAA354FB428}" dt="2021-05-05T20:50:39.135" v="1" actId="1076"/>
      <pc:docMkLst>
        <pc:docMk/>
      </pc:docMkLst>
      <pc:sldChg chg="modSp mod">
        <pc:chgData name="Kory Thacher" userId="995eb0f2-f21c-467c-a947-4f8fc26d0f2e" providerId="ADAL" clId="{22DE1CF6-66D8-4F59-B2B7-FAAA354FB428}" dt="2021-05-05T20:50:39.135" v="1" actId="1076"/>
        <pc:sldMkLst>
          <pc:docMk/>
          <pc:sldMk cId="3371110617" sldId="314"/>
        </pc:sldMkLst>
        <pc:spChg chg="mod">
          <ac:chgData name="Kory Thacher" userId="995eb0f2-f21c-467c-a947-4f8fc26d0f2e" providerId="ADAL" clId="{22DE1CF6-66D8-4F59-B2B7-FAAA354FB428}" dt="2021-05-05T19:00:26.315" v="0" actId="14100"/>
          <ac:spMkLst>
            <pc:docMk/>
            <pc:sldMk cId="3371110617" sldId="314"/>
            <ac:spMk id="15" creationId="{6DAA8F88-5BE5-4DEB-B8E1-CCA52313CEB8}"/>
          </ac:spMkLst>
        </pc:spChg>
        <pc:picChg chg="mod">
          <ac:chgData name="Kory Thacher" userId="995eb0f2-f21c-467c-a947-4f8fc26d0f2e" providerId="ADAL" clId="{22DE1CF6-66D8-4F59-B2B7-FAAA354FB428}" dt="2021-05-05T20:50:39.135" v="1" actId="1076"/>
          <ac:picMkLst>
            <pc:docMk/>
            <pc:sldMk cId="3371110617" sldId="314"/>
            <ac:picMk id="36" creationId="{E609CE4D-9188-4CF4-804D-5F16F38688F4}"/>
          </ac:picMkLst>
        </pc:picChg>
      </pc:sldChg>
    </pc:docChg>
  </pc:docChgLst>
  <pc:docChgLst>
    <pc:chgData name="Tony Radkiewicz" userId="9832534a-7e4f-4058-9c41-7f4a5b855c95" providerId="ADAL" clId="{A87F2697-6D6A-4791-86A3-2F042A8C0B04}"/>
    <pc:docChg chg="custSel delSld modSld modSection">
      <pc:chgData name="Tony Radkiewicz" userId="9832534a-7e4f-4058-9c41-7f4a5b855c95" providerId="ADAL" clId="{A87F2697-6D6A-4791-86A3-2F042A8C0B04}" dt="2022-04-18T21:27:37.370" v="55" actId="2696"/>
      <pc:docMkLst>
        <pc:docMk/>
      </pc:docMkLst>
      <pc:sldChg chg="addSp delSp modSp del mod modShow">
        <pc:chgData name="Tony Radkiewicz" userId="9832534a-7e4f-4058-9c41-7f4a5b855c95" providerId="ADAL" clId="{A87F2697-6D6A-4791-86A3-2F042A8C0B04}" dt="2022-04-18T21:27:37.370" v="55" actId="2696"/>
        <pc:sldMkLst>
          <pc:docMk/>
          <pc:sldMk cId="172246181" sldId="432"/>
        </pc:sldMkLst>
        <pc:spChg chg="mod">
          <ac:chgData name="Tony Radkiewicz" userId="9832534a-7e4f-4058-9c41-7f4a5b855c95" providerId="ADAL" clId="{A87F2697-6D6A-4791-86A3-2F042A8C0B04}" dt="2022-04-18T21:23:50.500" v="38" actId="20577"/>
          <ac:spMkLst>
            <pc:docMk/>
            <pc:sldMk cId="172246181" sldId="432"/>
            <ac:spMk id="2" creationId="{4822CAD8-5390-418D-A00A-9B5137261C8A}"/>
          </ac:spMkLst>
        </pc:spChg>
        <pc:picChg chg="add mod">
          <ac:chgData name="Tony Radkiewicz" userId="9832534a-7e4f-4058-9c41-7f4a5b855c95" providerId="ADAL" clId="{A87F2697-6D6A-4791-86A3-2F042A8C0B04}" dt="2022-04-18T21:22:18.551" v="19" actId="1076"/>
          <ac:picMkLst>
            <pc:docMk/>
            <pc:sldMk cId="172246181" sldId="432"/>
            <ac:picMk id="4" creationId="{CFCC55E9-B24C-2639-8E37-62B54FDC7AC1}"/>
          </ac:picMkLst>
        </pc:picChg>
        <pc:picChg chg="add mod">
          <ac:chgData name="Tony Radkiewicz" userId="9832534a-7e4f-4058-9c41-7f4a5b855c95" providerId="ADAL" clId="{A87F2697-6D6A-4791-86A3-2F042A8C0B04}" dt="2022-04-18T21:23:22.935" v="29" actId="1076"/>
          <ac:picMkLst>
            <pc:docMk/>
            <pc:sldMk cId="172246181" sldId="432"/>
            <ac:picMk id="6" creationId="{BE5B7C03-58DC-8C88-705E-3EEFBA13C961}"/>
          </ac:picMkLst>
        </pc:picChg>
        <pc:picChg chg="del">
          <ac:chgData name="Tony Radkiewicz" userId="9832534a-7e4f-4058-9c41-7f4a5b855c95" providerId="ADAL" clId="{A87F2697-6D6A-4791-86A3-2F042A8C0B04}" dt="2022-04-18T21:20:47.177" v="0" actId="478"/>
          <ac:picMkLst>
            <pc:docMk/>
            <pc:sldMk cId="172246181" sldId="432"/>
            <ac:picMk id="7" creationId="{A7460838-613A-40B8-A633-3067B35AB8D0}"/>
          </ac:picMkLst>
        </pc:picChg>
        <pc:picChg chg="del">
          <ac:chgData name="Tony Radkiewicz" userId="9832534a-7e4f-4058-9c41-7f4a5b855c95" providerId="ADAL" clId="{A87F2697-6D6A-4791-86A3-2F042A8C0B04}" dt="2022-04-18T21:23:05.395" v="20" actId="478"/>
          <ac:picMkLst>
            <pc:docMk/>
            <pc:sldMk cId="172246181" sldId="432"/>
            <ac:picMk id="8" creationId="{35F7D9A6-2510-450D-BD37-9CDFA01F2AC8}"/>
          </ac:picMkLst>
        </pc:picChg>
      </pc:sldChg>
      <pc:sldChg chg="modSp mod modShow">
        <pc:chgData name="Tony Radkiewicz" userId="9832534a-7e4f-4058-9c41-7f4a5b855c95" providerId="ADAL" clId="{A87F2697-6D6A-4791-86A3-2F042A8C0B04}" dt="2022-04-18T21:26:21.495" v="54" actId="1076"/>
        <pc:sldMkLst>
          <pc:docMk/>
          <pc:sldMk cId="569769290" sldId="433"/>
        </pc:sldMkLst>
        <pc:picChg chg="mod">
          <ac:chgData name="Tony Radkiewicz" userId="9832534a-7e4f-4058-9c41-7f4a5b855c95" providerId="ADAL" clId="{A87F2697-6D6A-4791-86A3-2F042A8C0B04}" dt="2022-04-18T21:26:21.495" v="54" actId="1076"/>
          <ac:picMkLst>
            <pc:docMk/>
            <pc:sldMk cId="569769290" sldId="433"/>
            <ac:picMk id="6" creationId="{BE5B7C03-58DC-8C88-705E-3EEFBA13C961}"/>
          </ac:picMkLst>
        </pc:picChg>
      </pc:sldChg>
    </pc:docChg>
  </pc:docChgLst>
  <pc:docChgLst>
    <pc:chgData name="Martijn geffen van" userId="d54dc4df-8e3c-425c-8424-9027061d7bc0" providerId="ADAL" clId="{13490514-F46C-4B16-B49F-C00036A4F2C2}"/>
    <pc:docChg chg="modSld">
      <pc:chgData name="Martijn geffen van" userId="d54dc4df-8e3c-425c-8424-9027061d7bc0" providerId="ADAL" clId="{13490514-F46C-4B16-B49F-C00036A4F2C2}" dt="2021-09-07T12:46:17.354" v="1" actId="20577"/>
      <pc:docMkLst>
        <pc:docMk/>
      </pc:docMkLst>
      <pc:sldChg chg="modSp mod">
        <pc:chgData name="Martijn geffen van" userId="d54dc4df-8e3c-425c-8424-9027061d7bc0" providerId="ADAL" clId="{13490514-F46C-4B16-B49F-C00036A4F2C2}" dt="2021-09-07T12:46:17.354" v="1" actId="20577"/>
        <pc:sldMkLst>
          <pc:docMk/>
          <pc:sldMk cId="823528527" sldId="263"/>
        </pc:sldMkLst>
        <pc:graphicFrameChg chg="mod modGraphic">
          <ac:chgData name="Martijn geffen van" userId="d54dc4df-8e3c-425c-8424-9027061d7bc0" providerId="ADAL" clId="{13490514-F46C-4B16-B49F-C00036A4F2C2}" dt="2021-09-07T12:46:17.354" v="1" actId="20577"/>
          <ac:graphicFrameMkLst>
            <pc:docMk/>
            <pc:sldMk cId="823528527" sldId="263"/>
            <ac:graphicFrameMk id="5" creationId="{00000000-0000-0000-0000-000000000000}"/>
          </ac:graphicFrameMkLst>
        </pc:graphicFrameChg>
      </pc:sldChg>
    </pc:docChg>
  </pc:docChgLst>
  <pc:docChgLst>
    <pc:chgData name="Tony Radkiewicz" userId="9832534a-7e4f-4058-9c41-7f4a5b855c95" providerId="ADAL" clId="{A48A48B6-3640-4B5D-B650-D8B25E56B480}"/>
    <pc:docChg chg="undo custSel addSld delSld modSld sldOrd modSection">
      <pc:chgData name="Tony Radkiewicz" userId="9832534a-7e4f-4058-9c41-7f4a5b855c95" providerId="ADAL" clId="{A48A48B6-3640-4B5D-B650-D8B25E56B480}" dt="2021-10-26T22:46:49.840" v="1548" actId="1076"/>
      <pc:docMkLst>
        <pc:docMk/>
      </pc:docMkLst>
      <pc:sldChg chg="modSp mod">
        <pc:chgData name="Tony Radkiewicz" userId="9832534a-7e4f-4058-9c41-7f4a5b855c95" providerId="ADAL" clId="{A48A48B6-3640-4B5D-B650-D8B25E56B480}" dt="2021-10-12T17:48:17.632" v="7" actId="20577"/>
        <pc:sldMkLst>
          <pc:docMk/>
          <pc:sldMk cId="1483460119" sldId="259"/>
        </pc:sldMkLst>
        <pc:spChg chg="mod">
          <ac:chgData name="Tony Radkiewicz" userId="9832534a-7e4f-4058-9c41-7f4a5b855c95" providerId="ADAL" clId="{A48A48B6-3640-4B5D-B650-D8B25E56B480}" dt="2021-10-12T17:48:17.632" v="7" actId="20577"/>
          <ac:spMkLst>
            <pc:docMk/>
            <pc:sldMk cId="1483460119" sldId="259"/>
            <ac:spMk id="4" creationId="{9CBC6F63-616D-478D-A91D-8B071350BF64}"/>
          </ac:spMkLst>
        </pc:spChg>
      </pc:sldChg>
      <pc:sldChg chg="modSp mod">
        <pc:chgData name="Tony Radkiewicz" userId="9832534a-7e4f-4058-9c41-7f4a5b855c95" providerId="ADAL" clId="{A48A48B6-3640-4B5D-B650-D8B25E56B480}" dt="2021-10-12T17:49:03.651" v="26" actId="20577"/>
        <pc:sldMkLst>
          <pc:docMk/>
          <pc:sldMk cId="2484169840" sldId="269"/>
        </pc:sldMkLst>
        <pc:spChg chg="mod">
          <ac:chgData name="Tony Radkiewicz" userId="9832534a-7e4f-4058-9c41-7f4a5b855c95" providerId="ADAL" clId="{A48A48B6-3640-4B5D-B650-D8B25E56B480}" dt="2021-10-12T17:49:03.651" v="26" actId="20577"/>
          <ac:spMkLst>
            <pc:docMk/>
            <pc:sldMk cId="2484169840" sldId="269"/>
            <ac:spMk id="4" creationId="{9CBC6F63-616D-478D-A91D-8B071350BF64}"/>
          </ac:spMkLst>
        </pc:spChg>
      </pc:sldChg>
      <pc:sldChg chg="modSp mod">
        <pc:chgData name="Tony Radkiewicz" userId="9832534a-7e4f-4058-9c41-7f4a5b855c95" providerId="ADAL" clId="{A48A48B6-3640-4B5D-B650-D8B25E56B480}" dt="2021-10-12T17:49:51.945" v="64" actId="20577"/>
        <pc:sldMkLst>
          <pc:docMk/>
          <pc:sldMk cId="4291034557" sldId="276"/>
        </pc:sldMkLst>
        <pc:spChg chg="mod">
          <ac:chgData name="Tony Radkiewicz" userId="9832534a-7e4f-4058-9c41-7f4a5b855c95" providerId="ADAL" clId="{A48A48B6-3640-4B5D-B650-D8B25E56B480}" dt="2021-10-12T17:49:51.945" v="64" actId="20577"/>
          <ac:spMkLst>
            <pc:docMk/>
            <pc:sldMk cId="4291034557" sldId="276"/>
            <ac:spMk id="4" creationId="{9CBC6F63-616D-478D-A91D-8B071350BF64}"/>
          </ac:spMkLst>
        </pc:spChg>
      </pc:sldChg>
      <pc:sldChg chg="modSp mod">
        <pc:chgData name="Tony Radkiewicz" userId="9832534a-7e4f-4058-9c41-7f4a5b855c95" providerId="ADAL" clId="{A48A48B6-3640-4B5D-B650-D8B25E56B480}" dt="2021-10-12T17:50:16.506" v="72" actId="20577"/>
        <pc:sldMkLst>
          <pc:docMk/>
          <pc:sldMk cId="3094490415" sldId="285"/>
        </pc:sldMkLst>
        <pc:spChg chg="mod">
          <ac:chgData name="Tony Radkiewicz" userId="9832534a-7e4f-4058-9c41-7f4a5b855c95" providerId="ADAL" clId="{A48A48B6-3640-4B5D-B650-D8B25E56B480}" dt="2021-10-12T17:50:16.506" v="72" actId="20577"/>
          <ac:spMkLst>
            <pc:docMk/>
            <pc:sldMk cId="3094490415" sldId="285"/>
            <ac:spMk id="4" creationId="{9CBC6F63-616D-478D-A91D-8B071350BF64}"/>
          </ac:spMkLst>
        </pc:spChg>
      </pc:sldChg>
      <pc:sldChg chg="modSp mod">
        <pc:chgData name="Tony Radkiewicz" userId="9832534a-7e4f-4058-9c41-7f4a5b855c95" providerId="ADAL" clId="{A48A48B6-3640-4B5D-B650-D8B25E56B480}" dt="2021-10-12T17:51:03.469" v="96" actId="20577"/>
        <pc:sldMkLst>
          <pc:docMk/>
          <pc:sldMk cId="3288870019" sldId="291"/>
        </pc:sldMkLst>
        <pc:spChg chg="mod">
          <ac:chgData name="Tony Radkiewicz" userId="9832534a-7e4f-4058-9c41-7f4a5b855c95" providerId="ADAL" clId="{A48A48B6-3640-4B5D-B650-D8B25E56B480}" dt="2021-10-12T17:51:03.469" v="96" actId="20577"/>
          <ac:spMkLst>
            <pc:docMk/>
            <pc:sldMk cId="3288870019" sldId="291"/>
            <ac:spMk id="4" creationId="{9CBC6F63-616D-478D-A91D-8B071350BF64}"/>
          </ac:spMkLst>
        </pc:spChg>
      </pc:sldChg>
      <pc:sldChg chg="ord">
        <pc:chgData name="Tony Radkiewicz" userId="9832534a-7e4f-4058-9c41-7f4a5b855c95" providerId="ADAL" clId="{A48A48B6-3640-4B5D-B650-D8B25E56B480}" dt="2021-10-12T17:50:52.734" v="75"/>
        <pc:sldMkLst>
          <pc:docMk/>
          <pc:sldMk cId="2733854064" sldId="303"/>
        </pc:sldMkLst>
      </pc:sldChg>
      <pc:sldChg chg="modSp mod ord">
        <pc:chgData name="Tony Radkiewicz" userId="9832534a-7e4f-4058-9c41-7f4a5b855c95" providerId="ADAL" clId="{A48A48B6-3640-4B5D-B650-D8B25E56B480}" dt="2021-10-14T22:49:51" v="903" actId="20577"/>
        <pc:sldMkLst>
          <pc:docMk/>
          <pc:sldMk cId="1993497757" sldId="312"/>
        </pc:sldMkLst>
        <pc:spChg chg="mod">
          <ac:chgData name="Tony Radkiewicz" userId="9832534a-7e4f-4058-9c41-7f4a5b855c95" providerId="ADAL" clId="{A48A48B6-3640-4B5D-B650-D8B25E56B480}" dt="2021-10-14T22:49:51" v="903" actId="20577"/>
          <ac:spMkLst>
            <pc:docMk/>
            <pc:sldMk cId="1993497757" sldId="312"/>
            <ac:spMk id="4" creationId="{61CAFAC0-A886-498C-A5DF-4B89C26EF42D}"/>
          </ac:spMkLst>
        </pc:spChg>
      </pc:sldChg>
      <pc:sldChg chg="ord">
        <pc:chgData name="Tony Radkiewicz" userId="9832534a-7e4f-4058-9c41-7f4a5b855c95" providerId="ADAL" clId="{A48A48B6-3640-4B5D-B650-D8B25E56B480}" dt="2021-10-12T17:50:52.734" v="75"/>
        <pc:sldMkLst>
          <pc:docMk/>
          <pc:sldMk cId="2752954175" sldId="313"/>
        </pc:sldMkLst>
      </pc:sldChg>
      <pc:sldChg chg="ord">
        <pc:chgData name="Tony Radkiewicz" userId="9832534a-7e4f-4058-9c41-7f4a5b855c95" providerId="ADAL" clId="{A48A48B6-3640-4B5D-B650-D8B25E56B480}" dt="2021-10-12T17:50:52.734" v="75"/>
        <pc:sldMkLst>
          <pc:docMk/>
          <pc:sldMk cId="3371110617" sldId="314"/>
        </pc:sldMkLst>
      </pc:sldChg>
      <pc:sldChg chg="modSp mod modNotesTx">
        <pc:chgData name="Tony Radkiewicz" userId="9832534a-7e4f-4058-9c41-7f4a5b855c95" providerId="ADAL" clId="{A48A48B6-3640-4B5D-B650-D8B25E56B480}" dt="2021-10-12T18:58:03.427" v="180" actId="20577"/>
        <pc:sldMkLst>
          <pc:docMk/>
          <pc:sldMk cId="334500391" sldId="319"/>
        </pc:sldMkLst>
        <pc:graphicFrameChg chg="modGraphic">
          <ac:chgData name="Tony Radkiewicz" userId="9832534a-7e4f-4058-9c41-7f4a5b855c95" providerId="ADAL" clId="{A48A48B6-3640-4B5D-B650-D8B25E56B480}" dt="2021-10-12T18:57:57.591" v="179" actId="20577"/>
          <ac:graphicFrameMkLst>
            <pc:docMk/>
            <pc:sldMk cId="334500391" sldId="319"/>
            <ac:graphicFrameMk id="6" creationId="{A25422A3-EC71-4EF3-9DAE-3D8769C02872}"/>
          </ac:graphicFrameMkLst>
        </pc:graphicFrameChg>
      </pc:sldChg>
      <pc:sldChg chg="modSp mod">
        <pc:chgData name="Tony Radkiewicz" userId="9832534a-7e4f-4058-9c41-7f4a5b855c95" providerId="ADAL" clId="{A48A48B6-3640-4B5D-B650-D8B25E56B480}" dt="2021-10-12T21:59:11.361" v="256" actId="20577"/>
        <pc:sldMkLst>
          <pc:docMk/>
          <pc:sldMk cId="1009553674" sldId="354"/>
        </pc:sldMkLst>
        <pc:graphicFrameChg chg="mod modGraphic">
          <ac:chgData name="Tony Radkiewicz" userId="9832534a-7e4f-4058-9c41-7f4a5b855c95" providerId="ADAL" clId="{A48A48B6-3640-4B5D-B650-D8B25E56B480}" dt="2021-10-12T21:59:11.361" v="256" actId="20577"/>
          <ac:graphicFrameMkLst>
            <pc:docMk/>
            <pc:sldMk cId="1009553674" sldId="354"/>
            <ac:graphicFrameMk id="7" creationId="{7368B303-CF16-4220-B838-8FA9A1A56F31}"/>
          </ac:graphicFrameMkLst>
        </pc:graphicFrameChg>
      </pc:sldChg>
      <pc:sldChg chg="modSp mod">
        <pc:chgData name="Tony Radkiewicz" userId="9832534a-7e4f-4058-9c41-7f4a5b855c95" providerId="ADAL" clId="{A48A48B6-3640-4B5D-B650-D8B25E56B480}" dt="2021-10-12T21:54:07.144" v="201" actId="20577"/>
        <pc:sldMkLst>
          <pc:docMk/>
          <pc:sldMk cId="1480387363" sldId="355"/>
        </pc:sldMkLst>
        <pc:graphicFrameChg chg="mod modGraphic">
          <ac:chgData name="Tony Radkiewicz" userId="9832534a-7e4f-4058-9c41-7f4a5b855c95" providerId="ADAL" clId="{A48A48B6-3640-4B5D-B650-D8B25E56B480}" dt="2021-10-12T21:54:07.144" v="201" actId="20577"/>
          <ac:graphicFrameMkLst>
            <pc:docMk/>
            <pc:sldMk cId="1480387363" sldId="355"/>
            <ac:graphicFrameMk id="4" creationId="{95950414-2535-4796-9B33-B31003ABEBF4}"/>
          </ac:graphicFrameMkLst>
        </pc:graphicFrameChg>
      </pc:sldChg>
      <pc:sldChg chg="modSp mod modNotesTx">
        <pc:chgData name="Tony Radkiewicz" userId="9832534a-7e4f-4058-9c41-7f4a5b855c95" providerId="ADAL" clId="{A48A48B6-3640-4B5D-B650-D8B25E56B480}" dt="2021-10-14T18:29:40.129" v="539" actId="20577"/>
        <pc:sldMkLst>
          <pc:docMk/>
          <pc:sldMk cId="3079498047" sldId="357"/>
        </pc:sldMkLst>
        <pc:spChg chg="mod">
          <ac:chgData name="Tony Radkiewicz" userId="9832534a-7e4f-4058-9c41-7f4a5b855c95" providerId="ADAL" clId="{A48A48B6-3640-4B5D-B650-D8B25E56B480}" dt="2021-10-14T18:27:39.961" v="510" actId="20577"/>
          <ac:spMkLst>
            <pc:docMk/>
            <pc:sldMk cId="3079498047" sldId="357"/>
            <ac:spMk id="4" creationId="{7B221272-F632-4C2B-B329-BA04392E4744}"/>
          </ac:spMkLst>
        </pc:spChg>
        <pc:spChg chg="mod">
          <ac:chgData name="Tony Radkiewicz" userId="9832534a-7e4f-4058-9c41-7f4a5b855c95" providerId="ADAL" clId="{A48A48B6-3640-4B5D-B650-D8B25E56B480}" dt="2021-10-14T18:27:19.409" v="507" actId="20577"/>
          <ac:spMkLst>
            <pc:docMk/>
            <pc:sldMk cId="3079498047" sldId="357"/>
            <ac:spMk id="5" creationId="{47443753-F7B3-40E3-AA12-669AFAF222D3}"/>
          </ac:spMkLst>
        </pc:spChg>
      </pc:sldChg>
      <pc:sldChg chg="modNotesTx">
        <pc:chgData name="Tony Radkiewicz" userId="9832534a-7e4f-4058-9c41-7f4a5b855c95" providerId="ADAL" clId="{A48A48B6-3640-4B5D-B650-D8B25E56B480}" dt="2021-10-26T22:33:31.061" v="1474" actId="33524"/>
        <pc:sldMkLst>
          <pc:docMk/>
          <pc:sldMk cId="91370200" sldId="358"/>
        </pc:sldMkLst>
      </pc:sldChg>
      <pc:sldChg chg="modSp mod">
        <pc:chgData name="Tony Radkiewicz" userId="9832534a-7e4f-4058-9c41-7f4a5b855c95" providerId="ADAL" clId="{A48A48B6-3640-4B5D-B650-D8B25E56B480}" dt="2021-10-12T22:51:07.860" v="355" actId="20577"/>
        <pc:sldMkLst>
          <pc:docMk/>
          <pc:sldMk cId="1741556669" sldId="360"/>
        </pc:sldMkLst>
        <pc:spChg chg="mod">
          <ac:chgData name="Tony Radkiewicz" userId="9832534a-7e4f-4058-9c41-7f4a5b855c95" providerId="ADAL" clId="{A48A48B6-3640-4B5D-B650-D8B25E56B480}" dt="2021-10-12T22:51:07.860" v="355" actId="20577"/>
          <ac:spMkLst>
            <pc:docMk/>
            <pc:sldMk cId="1741556669" sldId="360"/>
            <ac:spMk id="3" creationId="{693C9892-B118-48B9-8360-6167205C0EC0}"/>
          </ac:spMkLst>
        </pc:spChg>
      </pc:sldChg>
      <pc:sldChg chg="modSp mod">
        <pc:chgData name="Tony Radkiewicz" userId="9832534a-7e4f-4058-9c41-7f4a5b855c95" providerId="ADAL" clId="{A48A48B6-3640-4B5D-B650-D8B25E56B480}" dt="2021-10-25T22:16:39.912" v="950" actId="20577"/>
        <pc:sldMkLst>
          <pc:docMk/>
          <pc:sldMk cId="2090656438" sldId="365"/>
        </pc:sldMkLst>
        <pc:graphicFrameChg chg="modGraphic">
          <ac:chgData name="Tony Radkiewicz" userId="9832534a-7e4f-4058-9c41-7f4a5b855c95" providerId="ADAL" clId="{A48A48B6-3640-4B5D-B650-D8B25E56B480}" dt="2021-10-25T22:16:39.912" v="950" actId="20577"/>
          <ac:graphicFrameMkLst>
            <pc:docMk/>
            <pc:sldMk cId="2090656438" sldId="365"/>
            <ac:graphicFrameMk id="7" creationId="{7368B303-CF16-4220-B838-8FA9A1A56F31}"/>
          </ac:graphicFrameMkLst>
        </pc:graphicFrameChg>
      </pc:sldChg>
      <pc:sldChg chg="modSp mod">
        <pc:chgData name="Tony Radkiewicz" userId="9832534a-7e4f-4058-9c41-7f4a5b855c95" providerId="ADAL" clId="{A48A48B6-3640-4B5D-B650-D8B25E56B480}" dt="2021-10-14T22:53:56.498" v="923" actId="13782"/>
        <pc:sldMkLst>
          <pc:docMk/>
          <pc:sldMk cId="232663344" sldId="366"/>
        </pc:sldMkLst>
        <pc:graphicFrameChg chg="mod modGraphic">
          <ac:chgData name="Tony Radkiewicz" userId="9832534a-7e4f-4058-9c41-7f4a5b855c95" providerId="ADAL" clId="{A48A48B6-3640-4B5D-B650-D8B25E56B480}" dt="2021-10-14T22:53:56.498" v="923" actId="13782"/>
          <ac:graphicFrameMkLst>
            <pc:docMk/>
            <pc:sldMk cId="232663344" sldId="366"/>
            <ac:graphicFrameMk id="7" creationId="{7368B303-CF16-4220-B838-8FA9A1A56F31}"/>
          </ac:graphicFrameMkLst>
        </pc:graphicFrameChg>
      </pc:sldChg>
      <pc:sldChg chg="modSp mod">
        <pc:chgData name="Tony Radkiewicz" userId="9832534a-7e4f-4058-9c41-7f4a5b855c95" providerId="ADAL" clId="{A48A48B6-3640-4B5D-B650-D8B25E56B480}" dt="2021-10-14T18:42:52.907" v="547" actId="1076"/>
        <pc:sldMkLst>
          <pc:docMk/>
          <pc:sldMk cId="4188363282" sldId="370"/>
        </pc:sldMkLst>
        <pc:picChg chg="mod">
          <ac:chgData name="Tony Radkiewicz" userId="9832534a-7e4f-4058-9c41-7f4a5b855c95" providerId="ADAL" clId="{A48A48B6-3640-4B5D-B650-D8B25E56B480}" dt="2021-10-14T18:42:45.192" v="544" actId="14100"/>
          <ac:picMkLst>
            <pc:docMk/>
            <pc:sldMk cId="4188363282" sldId="370"/>
            <ac:picMk id="7" creationId="{A7460838-613A-40B8-A633-3067B35AB8D0}"/>
          </ac:picMkLst>
        </pc:picChg>
        <pc:picChg chg="mod">
          <ac:chgData name="Tony Radkiewicz" userId="9832534a-7e4f-4058-9c41-7f4a5b855c95" providerId="ADAL" clId="{A48A48B6-3640-4B5D-B650-D8B25E56B480}" dt="2021-10-14T18:42:52.907" v="547" actId="1076"/>
          <ac:picMkLst>
            <pc:docMk/>
            <pc:sldMk cId="4188363282" sldId="370"/>
            <ac:picMk id="8" creationId="{35F7D9A6-2510-450D-BD37-9CDFA01F2AC8}"/>
          </ac:picMkLst>
        </pc:picChg>
      </pc:sldChg>
      <pc:sldChg chg="modSp mod">
        <pc:chgData name="Tony Radkiewicz" userId="9832534a-7e4f-4058-9c41-7f4a5b855c95" providerId="ADAL" clId="{A48A48B6-3640-4B5D-B650-D8B25E56B480}" dt="2021-10-12T22:10:40.053" v="291" actId="12093"/>
        <pc:sldMkLst>
          <pc:docMk/>
          <pc:sldMk cId="615095236" sldId="374"/>
        </pc:sldMkLst>
        <pc:graphicFrameChg chg="mod modGraphic">
          <ac:chgData name="Tony Radkiewicz" userId="9832534a-7e4f-4058-9c41-7f4a5b855c95" providerId="ADAL" clId="{A48A48B6-3640-4B5D-B650-D8B25E56B480}" dt="2021-10-12T22:10:40.053" v="291" actId="12093"/>
          <ac:graphicFrameMkLst>
            <pc:docMk/>
            <pc:sldMk cId="615095236" sldId="374"/>
            <ac:graphicFrameMk id="7" creationId="{7368B303-CF16-4220-B838-8FA9A1A56F31}"/>
          </ac:graphicFrameMkLst>
        </pc:graphicFrameChg>
      </pc:sldChg>
      <pc:sldChg chg="add">
        <pc:chgData name="Tony Radkiewicz" userId="9832534a-7e4f-4058-9c41-7f4a5b855c95" providerId="ADAL" clId="{A48A48B6-3640-4B5D-B650-D8B25E56B480}" dt="2021-10-12T22:09:09.642" v="261" actId="2890"/>
        <pc:sldMkLst>
          <pc:docMk/>
          <pc:sldMk cId="1915336147" sldId="375"/>
        </pc:sldMkLst>
      </pc:sldChg>
      <pc:sldChg chg="addSp modSp mod modNotesTx">
        <pc:chgData name="Tony Radkiewicz" userId="9832534a-7e4f-4058-9c41-7f4a5b855c95" providerId="ADAL" clId="{A48A48B6-3640-4B5D-B650-D8B25E56B480}" dt="2021-10-12T22:40:49.791" v="296" actId="20577"/>
        <pc:sldMkLst>
          <pc:docMk/>
          <pc:sldMk cId="1623698614" sldId="377"/>
        </pc:sldMkLst>
        <pc:picChg chg="add mod">
          <ac:chgData name="Tony Radkiewicz" userId="9832534a-7e4f-4058-9c41-7f4a5b855c95" providerId="ADAL" clId="{A48A48B6-3640-4B5D-B650-D8B25E56B480}" dt="2021-10-12T22:36:21.089" v="293" actId="1076"/>
          <ac:picMkLst>
            <pc:docMk/>
            <pc:sldMk cId="1623698614" sldId="377"/>
            <ac:picMk id="5" creationId="{8FFE7036-C1C1-4594-B17F-488492D48809}"/>
          </ac:picMkLst>
        </pc:picChg>
      </pc:sldChg>
      <pc:sldChg chg="addSp modSp add mod">
        <pc:chgData name="Tony Radkiewicz" userId="9832534a-7e4f-4058-9c41-7f4a5b855c95" providerId="ADAL" clId="{A48A48B6-3640-4B5D-B650-D8B25E56B480}" dt="2021-10-12T22:54:44.049" v="359" actId="1076"/>
        <pc:sldMkLst>
          <pc:docMk/>
          <pc:sldMk cId="749216288" sldId="378"/>
        </pc:sldMkLst>
        <pc:picChg chg="add mod">
          <ac:chgData name="Tony Radkiewicz" userId="9832534a-7e4f-4058-9c41-7f4a5b855c95" providerId="ADAL" clId="{A48A48B6-3640-4B5D-B650-D8B25E56B480}" dt="2021-10-12T22:54:44.049" v="359" actId="1076"/>
          <ac:picMkLst>
            <pc:docMk/>
            <pc:sldMk cId="749216288" sldId="378"/>
            <ac:picMk id="5" creationId="{A72D99E7-271D-4424-A0C0-6C114877A0C7}"/>
          </ac:picMkLst>
        </pc:picChg>
      </pc:sldChg>
      <pc:sldChg chg="addSp mod">
        <pc:chgData name="Tony Radkiewicz" userId="9832534a-7e4f-4058-9c41-7f4a5b855c95" providerId="ADAL" clId="{A48A48B6-3640-4B5D-B650-D8B25E56B480}" dt="2021-10-12T22:54:34.854" v="357" actId="22"/>
        <pc:sldMkLst>
          <pc:docMk/>
          <pc:sldMk cId="2563908723" sldId="379"/>
        </pc:sldMkLst>
        <pc:picChg chg="add">
          <ac:chgData name="Tony Radkiewicz" userId="9832534a-7e4f-4058-9c41-7f4a5b855c95" providerId="ADAL" clId="{A48A48B6-3640-4B5D-B650-D8B25E56B480}" dt="2021-10-12T22:54:34.854" v="357" actId="22"/>
          <ac:picMkLst>
            <pc:docMk/>
            <pc:sldMk cId="2563908723" sldId="379"/>
            <ac:picMk id="5" creationId="{F72A3F92-FF92-4F48-84E6-0DE04513D166}"/>
          </ac:picMkLst>
        </pc:picChg>
      </pc:sldChg>
      <pc:sldChg chg="addSp delSp modSp mod">
        <pc:chgData name="Tony Radkiewicz" userId="9832534a-7e4f-4058-9c41-7f4a5b855c95" providerId="ADAL" clId="{A48A48B6-3640-4B5D-B650-D8B25E56B480}" dt="2021-10-14T17:35:27.764" v="440" actId="1440"/>
        <pc:sldMkLst>
          <pc:docMk/>
          <pc:sldMk cId="1700209052" sldId="380"/>
        </pc:sldMkLst>
        <pc:spChg chg="mod">
          <ac:chgData name="Tony Radkiewicz" userId="9832534a-7e4f-4058-9c41-7f4a5b855c95" providerId="ADAL" clId="{A48A48B6-3640-4B5D-B650-D8B25E56B480}" dt="2021-10-12T23:01:49.016" v="398" actId="14100"/>
          <ac:spMkLst>
            <pc:docMk/>
            <pc:sldMk cId="1700209052" sldId="380"/>
            <ac:spMk id="3" creationId="{693C9892-B118-48B9-8360-6167205C0EC0}"/>
          </ac:spMkLst>
        </pc:spChg>
        <pc:spChg chg="add mod">
          <ac:chgData name="Tony Radkiewicz" userId="9832534a-7e4f-4058-9c41-7f4a5b855c95" providerId="ADAL" clId="{A48A48B6-3640-4B5D-B650-D8B25E56B480}" dt="2021-10-12T23:02:05.086" v="401" actId="14100"/>
          <ac:spMkLst>
            <pc:docMk/>
            <pc:sldMk cId="1700209052" sldId="380"/>
            <ac:spMk id="4" creationId="{0F714DCA-BEFB-4D0D-98F1-931F59A8FF49}"/>
          </ac:spMkLst>
        </pc:spChg>
        <pc:picChg chg="del mod">
          <ac:chgData name="Tony Radkiewicz" userId="9832534a-7e4f-4058-9c41-7f4a5b855c95" providerId="ADAL" clId="{A48A48B6-3640-4B5D-B650-D8B25E56B480}" dt="2021-10-14T17:32:22.329" v="422" actId="478"/>
          <ac:picMkLst>
            <pc:docMk/>
            <pc:sldMk cId="1700209052" sldId="380"/>
            <ac:picMk id="5" creationId="{A72D99E7-271D-4424-A0C0-6C114877A0C7}"/>
          </ac:picMkLst>
        </pc:picChg>
        <pc:picChg chg="add mod">
          <ac:chgData name="Tony Radkiewicz" userId="9832534a-7e4f-4058-9c41-7f4a5b855c95" providerId="ADAL" clId="{A48A48B6-3640-4B5D-B650-D8B25E56B480}" dt="2021-10-14T17:35:27.764" v="440" actId="1440"/>
          <ac:picMkLst>
            <pc:docMk/>
            <pc:sldMk cId="1700209052" sldId="380"/>
            <ac:picMk id="7" creationId="{B67633C9-E509-4BC3-B365-FB454723F047}"/>
          </ac:picMkLst>
        </pc:picChg>
      </pc:sldChg>
      <pc:sldChg chg="modSp mod modNotesTx">
        <pc:chgData name="Tony Radkiewicz" userId="9832534a-7e4f-4058-9c41-7f4a5b855c95" providerId="ADAL" clId="{A48A48B6-3640-4B5D-B650-D8B25E56B480}" dt="2021-10-14T17:49:47.183" v="493" actId="20577"/>
        <pc:sldMkLst>
          <pc:docMk/>
          <pc:sldMk cId="3367862728" sldId="381"/>
        </pc:sldMkLst>
        <pc:graphicFrameChg chg="mod modGraphic">
          <ac:chgData name="Tony Radkiewicz" userId="9832534a-7e4f-4058-9c41-7f4a5b855c95" providerId="ADAL" clId="{A48A48B6-3640-4B5D-B650-D8B25E56B480}" dt="2021-10-14T17:49:47.183" v="493" actId="20577"/>
          <ac:graphicFrameMkLst>
            <pc:docMk/>
            <pc:sldMk cId="3367862728" sldId="381"/>
            <ac:graphicFrameMk id="7" creationId="{7368B303-CF16-4220-B838-8FA9A1A56F31}"/>
          </ac:graphicFrameMkLst>
        </pc:graphicFrameChg>
      </pc:sldChg>
      <pc:sldChg chg="addSp delSp modSp mod">
        <pc:chgData name="Tony Radkiewicz" userId="9832534a-7e4f-4058-9c41-7f4a5b855c95" providerId="ADAL" clId="{A48A48B6-3640-4B5D-B650-D8B25E56B480}" dt="2021-10-14T17:58:46.064" v="501" actId="14100"/>
        <pc:sldMkLst>
          <pc:docMk/>
          <pc:sldMk cId="2825466284" sldId="386"/>
        </pc:sldMkLst>
        <pc:picChg chg="add del mod">
          <ac:chgData name="Tony Radkiewicz" userId="9832534a-7e4f-4058-9c41-7f4a5b855c95" providerId="ADAL" clId="{A48A48B6-3640-4B5D-B650-D8B25E56B480}" dt="2021-10-14T17:58:39.677" v="498" actId="478"/>
          <ac:picMkLst>
            <pc:docMk/>
            <pc:sldMk cId="2825466284" sldId="386"/>
            <ac:picMk id="4" creationId="{BF85DACC-133F-4D30-8E6C-4FC6060717D0}"/>
          </ac:picMkLst>
        </pc:picChg>
        <pc:picChg chg="add mod">
          <ac:chgData name="Tony Radkiewicz" userId="9832534a-7e4f-4058-9c41-7f4a5b855c95" providerId="ADAL" clId="{A48A48B6-3640-4B5D-B650-D8B25E56B480}" dt="2021-10-14T17:58:46.064" v="501" actId="14100"/>
          <ac:picMkLst>
            <pc:docMk/>
            <pc:sldMk cId="2825466284" sldId="386"/>
            <ac:picMk id="6" creationId="{68731FAF-E66C-44DE-A1C1-B7A6CCBDA40A}"/>
          </ac:picMkLst>
        </pc:picChg>
      </pc:sldChg>
      <pc:sldChg chg="modSp del mod">
        <pc:chgData name="Tony Radkiewicz" userId="9832534a-7e4f-4058-9c41-7f4a5b855c95" providerId="ADAL" clId="{A48A48B6-3640-4B5D-B650-D8B25E56B480}" dt="2021-10-14T18:24:33.348" v="506" actId="2696"/>
        <pc:sldMkLst>
          <pc:docMk/>
          <pc:sldMk cId="1653815918" sldId="391"/>
        </pc:sldMkLst>
        <pc:graphicFrameChg chg="mod modGraphic">
          <ac:chgData name="Tony Radkiewicz" userId="9832534a-7e4f-4058-9c41-7f4a5b855c95" providerId="ADAL" clId="{A48A48B6-3640-4B5D-B650-D8B25E56B480}" dt="2021-10-14T18:21:13.173" v="505" actId="255"/>
          <ac:graphicFrameMkLst>
            <pc:docMk/>
            <pc:sldMk cId="1653815918" sldId="391"/>
            <ac:graphicFrameMk id="7" creationId="{7368B303-CF16-4220-B838-8FA9A1A56F31}"/>
          </ac:graphicFrameMkLst>
        </pc:graphicFrameChg>
      </pc:sldChg>
      <pc:sldChg chg="modSp del mod">
        <pc:chgData name="Tony Radkiewicz" userId="9832534a-7e4f-4058-9c41-7f4a5b855c95" providerId="ADAL" clId="{A48A48B6-3640-4B5D-B650-D8B25E56B480}" dt="2021-10-26T22:41:11.850" v="1523" actId="2696"/>
        <pc:sldMkLst>
          <pc:docMk/>
          <pc:sldMk cId="3410937674" sldId="393"/>
        </pc:sldMkLst>
        <pc:spChg chg="mod">
          <ac:chgData name="Tony Radkiewicz" userId="9832534a-7e4f-4058-9c41-7f4a5b855c95" providerId="ADAL" clId="{A48A48B6-3640-4B5D-B650-D8B25E56B480}" dt="2021-10-26T22:38:55.991" v="1488" actId="20577"/>
          <ac:spMkLst>
            <pc:docMk/>
            <pc:sldMk cId="3410937674" sldId="393"/>
            <ac:spMk id="4" creationId="{7B221272-F632-4C2B-B329-BA04392E4744}"/>
          </ac:spMkLst>
        </pc:spChg>
      </pc:sldChg>
      <pc:sldChg chg="modSp mod">
        <pc:chgData name="Tony Radkiewicz" userId="9832534a-7e4f-4058-9c41-7f4a5b855c95" providerId="ADAL" clId="{A48A48B6-3640-4B5D-B650-D8B25E56B480}" dt="2021-10-14T17:37:39.951" v="445" actId="113"/>
        <pc:sldMkLst>
          <pc:docMk/>
          <pc:sldMk cId="950200286" sldId="394"/>
        </pc:sldMkLst>
        <pc:spChg chg="mod">
          <ac:chgData name="Tony Radkiewicz" userId="9832534a-7e4f-4058-9c41-7f4a5b855c95" providerId="ADAL" clId="{A48A48B6-3640-4B5D-B650-D8B25E56B480}" dt="2021-10-14T17:37:39.951" v="445" actId="113"/>
          <ac:spMkLst>
            <pc:docMk/>
            <pc:sldMk cId="950200286" sldId="394"/>
            <ac:spMk id="3" creationId="{E4A4B9B8-9E87-4A15-9EF6-204F7FCFC241}"/>
          </ac:spMkLst>
        </pc:spChg>
      </pc:sldChg>
      <pc:sldChg chg="modSp mod">
        <pc:chgData name="Tony Radkiewicz" userId="9832534a-7e4f-4058-9c41-7f4a5b855c95" providerId="ADAL" clId="{A48A48B6-3640-4B5D-B650-D8B25E56B480}" dt="2021-10-14T21:42:26.136" v="549" actId="20577"/>
        <pc:sldMkLst>
          <pc:docMk/>
          <pc:sldMk cId="859284316" sldId="395"/>
        </pc:sldMkLst>
        <pc:graphicFrameChg chg="modGraphic">
          <ac:chgData name="Tony Radkiewicz" userId="9832534a-7e4f-4058-9c41-7f4a5b855c95" providerId="ADAL" clId="{A48A48B6-3640-4B5D-B650-D8B25E56B480}" dt="2021-10-14T21:42:26.136" v="549" actId="20577"/>
          <ac:graphicFrameMkLst>
            <pc:docMk/>
            <pc:sldMk cId="859284316" sldId="395"/>
            <ac:graphicFrameMk id="7" creationId="{7368B303-CF16-4220-B838-8FA9A1A56F31}"/>
          </ac:graphicFrameMkLst>
        </pc:graphicFrameChg>
      </pc:sldChg>
      <pc:sldChg chg="modSp mod">
        <pc:chgData name="Tony Radkiewicz" userId="9832534a-7e4f-4058-9c41-7f4a5b855c95" providerId="ADAL" clId="{A48A48B6-3640-4B5D-B650-D8B25E56B480}" dt="2021-10-14T22:42:03.962" v="878" actId="20577"/>
        <pc:sldMkLst>
          <pc:docMk/>
          <pc:sldMk cId="4000340152" sldId="397"/>
        </pc:sldMkLst>
        <pc:graphicFrameChg chg="modGraphic">
          <ac:chgData name="Tony Radkiewicz" userId="9832534a-7e4f-4058-9c41-7f4a5b855c95" providerId="ADAL" clId="{A48A48B6-3640-4B5D-B650-D8B25E56B480}" dt="2021-10-14T22:42:03.962" v="878" actId="20577"/>
          <ac:graphicFrameMkLst>
            <pc:docMk/>
            <pc:sldMk cId="4000340152" sldId="397"/>
            <ac:graphicFrameMk id="7" creationId="{7368B303-CF16-4220-B838-8FA9A1A56F31}"/>
          </ac:graphicFrameMkLst>
        </pc:graphicFrameChg>
      </pc:sldChg>
      <pc:sldChg chg="modSp mod">
        <pc:chgData name="Tony Radkiewicz" userId="9832534a-7e4f-4058-9c41-7f4a5b855c95" providerId="ADAL" clId="{A48A48B6-3640-4B5D-B650-D8B25E56B480}" dt="2021-10-25T22:16:08.798" v="948" actId="20577"/>
        <pc:sldMkLst>
          <pc:docMk/>
          <pc:sldMk cId="3895123004" sldId="398"/>
        </pc:sldMkLst>
        <pc:spChg chg="mod">
          <ac:chgData name="Tony Radkiewicz" userId="9832534a-7e4f-4058-9c41-7f4a5b855c95" providerId="ADAL" clId="{A48A48B6-3640-4B5D-B650-D8B25E56B480}" dt="2021-10-25T22:16:08.798" v="948" actId="20577"/>
          <ac:spMkLst>
            <pc:docMk/>
            <pc:sldMk cId="3895123004" sldId="398"/>
            <ac:spMk id="4" creationId="{3E8BCBAD-1899-444F-A74A-B889A67F41D6}"/>
          </ac:spMkLst>
        </pc:spChg>
      </pc:sldChg>
      <pc:sldChg chg="modSp mod">
        <pc:chgData name="Tony Radkiewicz" userId="9832534a-7e4f-4058-9c41-7f4a5b855c95" providerId="ADAL" clId="{A48A48B6-3640-4B5D-B650-D8B25E56B480}" dt="2021-10-14T18:28:25.277" v="512" actId="20577"/>
        <pc:sldMkLst>
          <pc:docMk/>
          <pc:sldMk cId="2697481920" sldId="405"/>
        </pc:sldMkLst>
        <pc:graphicFrameChg chg="modGraphic">
          <ac:chgData name="Tony Radkiewicz" userId="9832534a-7e4f-4058-9c41-7f4a5b855c95" providerId="ADAL" clId="{A48A48B6-3640-4B5D-B650-D8B25E56B480}" dt="2021-10-14T18:28:25.277" v="512" actId="20577"/>
          <ac:graphicFrameMkLst>
            <pc:docMk/>
            <pc:sldMk cId="2697481920" sldId="405"/>
            <ac:graphicFrameMk id="7" creationId="{7368B303-CF16-4220-B838-8FA9A1A56F31}"/>
          </ac:graphicFrameMkLst>
        </pc:graphicFrameChg>
      </pc:sldChg>
      <pc:sldChg chg="modSp add mod">
        <pc:chgData name="Tony Radkiewicz" userId="9832534a-7e4f-4058-9c41-7f4a5b855c95" providerId="ADAL" clId="{A48A48B6-3640-4B5D-B650-D8B25E56B480}" dt="2021-10-14T21:57:20.577" v="847" actId="207"/>
        <pc:sldMkLst>
          <pc:docMk/>
          <pc:sldMk cId="125991477" sldId="413"/>
        </pc:sldMkLst>
        <pc:graphicFrameChg chg="mod modGraphic">
          <ac:chgData name="Tony Radkiewicz" userId="9832534a-7e4f-4058-9c41-7f4a5b855c95" providerId="ADAL" clId="{A48A48B6-3640-4B5D-B650-D8B25E56B480}" dt="2021-10-14T21:57:20.577" v="847" actId="207"/>
          <ac:graphicFrameMkLst>
            <pc:docMk/>
            <pc:sldMk cId="125991477" sldId="413"/>
            <ac:graphicFrameMk id="7" creationId="{7368B303-CF16-4220-B838-8FA9A1A56F31}"/>
          </ac:graphicFrameMkLst>
        </pc:graphicFrameChg>
      </pc:sldChg>
      <pc:sldChg chg="modSp mod modNotesTx">
        <pc:chgData name="Tony Radkiewicz" userId="9832534a-7e4f-4058-9c41-7f4a5b855c95" providerId="ADAL" clId="{A48A48B6-3640-4B5D-B650-D8B25E56B480}" dt="2021-10-25T22:10:48.099" v="934" actId="20577"/>
        <pc:sldMkLst>
          <pc:docMk/>
          <pc:sldMk cId="2916806554" sldId="415"/>
        </pc:sldMkLst>
        <pc:graphicFrameChg chg="modGraphic">
          <ac:chgData name="Tony Radkiewicz" userId="9832534a-7e4f-4058-9c41-7f4a5b855c95" providerId="ADAL" clId="{A48A48B6-3640-4B5D-B650-D8B25E56B480}" dt="2021-10-25T22:10:07.979" v="926" actId="20577"/>
          <ac:graphicFrameMkLst>
            <pc:docMk/>
            <pc:sldMk cId="2916806554" sldId="415"/>
            <ac:graphicFrameMk id="4" creationId="{30553AC0-86E7-48AD-AE50-152E2377470F}"/>
          </ac:graphicFrameMkLst>
        </pc:graphicFrameChg>
      </pc:sldChg>
      <pc:sldChg chg="modSp add mod">
        <pc:chgData name="Tony Radkiewicz" userId="9832534a-7e4f-4058-9c41-7f4a5b855c95" providerId="ADAL" clId="{A48A48B6-3640-4B5D-B650-D8B25E56B480}" dt="2021-10-26T22:46:49.840" v="1548" actId="1076"/>
        <pc:sldMkLst>
          <pc:docMk/>
          <pc:sldMk cId="1384625904" sldId="416"/>
        </pc:sldMkLst>
        <pc:spChg chg="mod">
          <ac:chgData name="Tony Radkiewicz" userId="9832534a-7e4f-4058-9c41-7f4a5b855c95" providerId="ADAL" clId="{A48A48B6-3640-4B5D-B650-D8B25E56B480}" dt="2021-10-26T22:46:49.840" v="1548" actId="1076"/>
          <ac:spMkLst>
            <pc:docMk/>
            <pc:sldMk cId="1384625904" sldId="416"/>
            <ac:spMk id="4" creationId="{3E8BCBAD-1899-444F-A74A-B889A67F41D6}"/>
          </ac:spMkLst>
        </pc:spChg>
        <pc:graphicFrameChg chg="mod modGraphic">
          <ac:chgData name="Tony Radkiewicz" userId="9832534a-7e4f-4058-9c41-7f4a5b855c95" providerId="ADAL" clId="{A48A48B6-3640-4B5D-B650-D8B25E56B480}" dt="2021-10-26T22:46:31.775" v="1546" actId="14100"/>
          <ac:graphicFrameMkLst>
            <pc:docMk/>
            <pc:sldMk cId="1384625904" sldId="416"/>
            <ac:graphicFrameMk id="5" creationId="{52DE7AD8-4EEC-4612-A0E9-F41833470B08}"/>
          </ac:graphicFrameMkLst>
        </pc:graphicFrameChg>
      </pc:sldChg>
      <pc:sldChg chg="modSp add del mod">
        <pc:chgData name="Tony Radkiewicz" userId="9832534a-7e4f-4058-9c41-7f4a5b855c95" providerId="ADAL" clId="{A48A48B6-3640-4B5D-B650-D8B25E56B480}" dt="2021-10-25T22:28:54.212" v="957" actId="2696"/>
        <pc:sldMkLst>
          <pc:docMk/>
          <pc:sldMk cId="2936937216" sldId="418"/>
        </pc:sldMkLst>
        <pc:spChg chg="mod">
          <ac:chgData name="Tony Radkiewicz" userId="9832534a-7e4f-4058-9c41-7f4a5b855c95" providerId="ADAL" clId="{A48A48B6-3640-4B5D-B650-D8B25E56B480}" dt="2021-10-25T22:24:30.481" v="956" actId="14100"/>
          <ac:spMkLst>
            <pc:docMk/>
            <pc:sldMk cId="2936937216" sldId="418"/>
            <ac:spMk id="4" creationId="{6BE92B9B-294D-4012-93B9-C8AB3A0259BE}"/>
          </ac:spMkLst>
        </pc:spChg>
        <pc:graphicFrameChg chg="mod">
          <ac:chgData name="Tony Radkiewicz" userId="9832534a-7e4f-4058-9c41-7f4a5b855c95" providerId="ADAL" clId="{A48A48B6-3640-4B5D-B650-D8B25E56B480}" dt="2021-10-25T22:24:01.116" v="952" actId="14100"/>
          <ac:graphicFrameMkLst>
            <pc:docMk/>
            <pc:sldMk cId="2936937216" sldId="418"/>
            <ac:graphicFrameMk id="7" creationId="{7368B303-CF16-4220-B838-8FA9A1A56F31}"/>
          </ac:graphicFrameMkLst>
        </pc:graphicFrameChg>
      </pc:sldChg>
      <pc:sldChg chg="modSp mod">
        <pc:chgData name="Tony Radkiewicz" userId="9832534a-7e4f-4058-9c41-7f4a5b855c95" providerId="ADAL" clId="{A48A48B6-3640-4B5D-B650-D8B25E56B480}" dt="2021-10-25T22:39:48.364" v="999" actId="20577"/>
        <pc:sldMkLst>
          <pc:docMk/>
          <pc:sldMk cId="990912147" sldId="419"/>
        </pc:sldMkLst>
        <pc:spChg chg="mod">
          <ac:chgData name="Tony Radkiewicz" userId="9832534a-7e4f-4058-9c41-7f4a5b855c95" providerId="ADAL" clId="{A48A48B6-3640-4B5D-B650-D8B25E56B480}" dt="2021-10-25T22:39:48.364" v="999" actId="20577"/>
          <ac:spMkLst>
            <pc:docMk/>
            <pc:sldMk cId="990912147" sldId="419"/>
            <ac:spMk id="4" creationId="{6BE92B9B-294D-4012-93B9-C8AB3A0259BE}"/>
          </ac:spMkLst>
        </pc:spChg>
        <pc:spChg chg="mod">
          <ac:chgData name="Tony Radkiewicz" userId="9832534a-7e4f-4058-9c41-7f4a5b855c95" providerId="ADAL" clId="{A48A48B6-3640-4B5D-B650-D8B25E56B480}" dt="2021-10-25T22:39:08.214" v="975" actId="20577"/>
          <ac:spMkLst>
            <pc:docMk/>
            <pc:sldMk cId="990912147" sldId="419"/>
            <ac:spMk id="5" creationId="{DE780830-B2A8-4920-B304-0BE357D89892}"/>
          </ac:spMkLst>
        </pc:spChg>
      </pc:sldChg>
      <pc:sldChg chg="modSp add mod">
        <pc:chgData name="Tony Radkiewicz" userId="9832534a-7e4f-4058-9c41-7f4a5b855c95" providerId="ADAL" clId="{A48A48B6-3640-4B5D-B650-D8B25E56B480}" dt="2021-10-25T22:43:26.566" v="1044" actId="1076"/>
        <pc:sldMkLst>
          <pc:docMk/>
          <pc:sldMk cId="2730702649" sldId="420"/>
        </pc:sldMkLst>
        <pc:spChg chg="mod">
          <ac:chgData name="Tony Radkiewicz" userId="9832534a-7e4f-4058-9c41-7f4a5b855c95" providerId="ADAL" clId="{A48A48B6-3640-4B5D-B650-D8B25E56B480}" dt="2021-10-25T22:42:49.495" v="1036" actId="14100"/>
          <ac:spMkLst>
            <pc:docMk/>
            <pc:sldMk cId="2730702649" sldId="420"/>
            <ac:spMk id="4" creationId="{6BE92B9B-294D-4012-93B9-C8AB3A0259BE}"/>
          </ac:spMkLst>
        </pc:spChg>
        <pc:spChg chg="mod">
          <ac:chgData name="Tony Radkiewicz" userId="9832534a-7e4f-4058-9c41-7f4a5b855c95" providerId="ADAL" clId="{A48A48B6-3640-4B5D-B650-D8B25E56B480}" dt="2021-10-25T22:43:26.566" v="1044" actId="1076"/>
          <ac:spMkLst>
            <pc:docMk/>
            <pc:sldMk cId="2730702649" sldId="420"/>
            <ac:spMk id="5" creationId="{DE780830-B2A8-4920-B304-0BE357D89892}"/>
          </ac:spMkLst>
        </pc:spChg>
        <pc:graphicFrameChg chg="mod">
          <ac:chgData name="Tony Radkiewicz" userId="9832534a-7e4f-4058-9c41-7f4a5b855c95" providerId="ADAL" clId="{A48A48B6-3640-4B5D-B650-D8B25E56B480}" dt="2021-10-25T22:43:04.440" v="1039" actId="14100"/>
          <ac:graphicFrameMkLst>
            <pc:docMk/>
            <pc:sldMk cId="2730702649" sldId="420"/>
            <ac:graphicFrameMk id="7" creationId="{7368B303-CF16-4220-B838-8FA9A1A56F31}"/>
          </ac:graphicFrameMkLst>
        </pc:graphicFrameChg>
      </pc:sldChg>
      <pc:sldChg chg="modSp add">
        <pc:chgData name="Tony Radkiewicz" userId="9832534a-7e4f-4058-9c41-7f4a5b855c95" providerId="ADAL" clId="{A48A48B6-3640-4B5D-B650-D8B25E56B480}" dt="2021-10-25T22:46:38.444" v="1051" actId="13782"/>
        <pc:sldMkLst>
          <pc:docMk/>
          <pc:sldMk cId="2106266794" sldId="421"/>
        </pc:sldMkLst>
        <pc:graphicFrameChg chg="mod">
          <ac:chgData name="Tony Radkiewicz" userId="9832534a-7e4f-4058-9c41-7f4a5b855c95" providerId="ADAL" clId="{A48A48B6-3640-4B5D-B650-D8B25E56B480}" dt="2021-10-25T22:46:38.444" v="1051" actId="13782"/>
          <ac:graphicFrameMkLst>
            <pc:docMk/>
            <pc:sldMk cId="2106266794" sldId="421"/>
            <ac:graphicFrameMk id="7" creationId="{7368B303-CF16-4220-B838-8FA9A1A56F31}"/>
          </ac:graphicFrameMkLst>
        </pc:graphicFrameChg>
      </pc:sldChg>
      <pc:sldChg chg="modSp add">
        <pc:chgData name="Tony Radkiewicz" userId="9832534a-7e4f-4058-9c41-7f4a5b855c95" providerId="ADAL" clId="{A48A48B6-3640-4B5D-B650-D8B25E56B480}" dt="2021-10-25T22:46:14.987" v="1049" actId="13782"/>
        <pc:sldMkLst>
          <pc:docMk/>
          <pc:sldMk cId="2681839817" sldId="422"/>
        </pc:sldMkLst>
        <pc:graphicFrameChg chg="mod">
          <ac:chgData name="Tony Radkiewicz" userId="9832534a-7e4f-4058-9c41-7f4a5b855c95" providerId="ADAL" clId="{A48A48B6-3640-4B5D-B650-D8B25E56B480}" dt="2021-10-25T22:46:14.987" v="1049" actId="13782"/>
          <ac:graphicFrameMkLst>
            <pc:docMk/>
            <pc:sldMk cId="2681839817" sldId="422"/>
            <ac:graphicFrameMk id="7" creationId="{7368B303-CF16-4220-B838-8FA9A1A56F31}"/>
          </ac:graphicFrameMkLst>
        </pc:graphicFrameChg>
      </pc:sldChg>
      <pc:sldChg chg="modSp add mod">
        <pc:chgData name="Tony Radkiewicz" userId="9832534a-7e4f-4058-9c41-7f4a5b855c95" providerId="ADAL" clId="{A48A48B6-3640-4B5D-B650-D8B25E56B480}" dt="2021-10-25T23:10:11.231" v="1392" actId="20577"/>
        <pc:sldMkLst>
          <pc:docMk/>
          <pc:sldMk cId="105766532" sldId="423"/>
        </pc:sldMkLst>
        <pc:spChg chg="mod">
          <ac:chgData name="Tony Radkiewicz" userId="9832534a-7e4f-4058-9c41-7f4a5b855c95" providerId="ADAL" clId="{A48A48B6-3640-4B5D-B650-D8B25E56B480}" dt="2021-10-25T22:55:18.470" v="1079" actId="20577"/>
          <ac:spMkLst>
            <pc:docMk/>
            <pc:sldMk cId="105766532" sldId="423"/>
            <ac:spMk id="2" creationId="{0D571322-9F37-477D-9B5B-EBF49D8B1DE4}"/>
          </ac:spMkLst>
        </pc:spChg>
        <pc:graphicFrameChg chg="modGraphic">
          <ac:chgData name="Tony Radkiewicz" userId="9832534a-7e4f-4058-9c41-7f4a5b855c95" providerId="ADAL" clId="{A48A48B6-3640-4B5D-B650-D8B25E56B480}" dt="2021-10-25T23:10:11.231" v="1392" actId="20577"/>
          <ac:graphicFrameMkLst>
            <pc:docMk/>
            <pc:sldMk cId="105766532" sldId="423"/>
            <ac:graphicFrameMk id="4" creationId="{30553AC0-86E7-48AD-AE50-152E2377470F}"/>
          </ac:graphicFrameMkLst>
        </pc:graphicFrameChg>
      </pc:sldChg>
      <pc:sldChg chg="addSp delSp modSp add mod">
        <pc:chgData name="Tony Radkiewicz" userId="9832534a-7e4f-4058-9c41-7f4a5b855c95" providerId="ADAL" clId="{A48A48B6-3640-4B5D-B650-D8B25E56B480}" dt="2021-10-26T22:16:18.143" v="1405" actId="22"/>
        <pc:sldMkLst>
          <pc:docMk/>
          <pc:sldMk cId="1782068415" sldId="424"/>
        </pc:sldMkLst>
        <pc:graphicFrameChg chg="del">
          <ac:chgData name="Tony Radkiewicz" userId="9832534a-7e4f-4058-9c41-7f4a5b855c95" providerId="ADAL" clId="{A48A48B6-3640-4B5D-B650-D8B25E56B480}" dt="2021-10-25T22:58:07.224" v="1256" actId="478"/>
          <ac:graphicFrameMkLst>
            <pc:docMk/>
            <pc:sldMk cId="1782068415" sldId="424"/>
            <ac:graphicFrameMk id="4" creationId="{30553AC0-86E7-48AD-AE50-152E2377470F}"/>
          </ac:graphicFrameMkLst>
        </pc:graphicFrameChg>
        <pc:picChg chg="add del">
          <ac:chgData name="Tony Radkiewicz" userId="9832534a-7e4f-4058-9c41-7f4a5b855c95" providerId="ADAL" clId="{A48A48B6-3640-4B5D-B650-D8B25E56B480}" dt="2021-10-26T22:09:33.917" v="1394" actId="478"/>
          <ac:picMkLst>
            <pc:docMk/>
            <pc:sldMk cId="1782068415" sldId="424"/>
            <ac:picMk id="4" creationId="{E1CCB555-82AB-4F49-9F6D-49E4852B259C}"/>
          </ac:picMkLst>
        </pc:picChg>
        <pc:picChg chg="add mod">
          <ac:chgData name="Tony Radkiewicz" userId="9832534a-7e4f-4058-9c41-7f4a5b855c95" providerId="ADAL" clId="{A48A48B6-3640-4B5D-B650-D8B25E56B480}" dt="2021-10-26T22:09:55.816" v="1396" actId="14100"/>
          <ac:picMkLst>
            <pc:docMk/>
            <pc:sldMk cId="1782068415" sldId="424"/>
            <ac:picMk id="6" creationId="{9997B031-60AC-46A3-9852-3FAA335FC43E}"/>
          </ac:picMkLst>
        </pc:picChg>
        <pc:picChg chg="add mod">
          <ac:chgData name="Tony Radkiewicz" userId="9832534a-7e4f-4058-9c41-7f4a5b855c95" providerId="ADAL" clId="{A48A48B6-3640-4B5D-B650-D8B25E56B480}" dt="2021-10-26T22:15:31.839" v="1404" actId="1076"/>
          <ac:picMkLst>
            <pc:docMk/>
            <pc:sldMk cId="1782068415" sldId="424"/>
            <ac:picMk id="8" creationId="{DFA29E2F-49FB-41EA-978E-F862DBC28A99}"/>
          </ac:picMkLst>
        </pc:picChg>
        <pc:picChg chg="add mod">
          <ac:chgData name="Tony Radkiewicz" userId="9832534a-7e4f-4058-9c41-7f4a5b855c95" providerId="ADAL" clId="{A48A48B6-3640-4B5D-B650-D8B25E56B480}" dt="2021-10-26T22:12:26.430" v="1399" actId="1076"/>
          <ac:picMkLst>
            <pc:docMk/>
            <pc:sldMk cId="1782068415" sldId="424"/>
            <ac:picMk id="10" creationId="{66B74473-3D96-4A95-A168-4D3F9874AA43}"/>
          </ac:picMkLst>
        </pc:picChg>
        <pc:picChg chg="add mod">
          <ac:chgData name="Tony Radkiewicz" userId="9832534a-7e4f-4058-9c41-7f4a5b855c95" providerId="ADAL" clId="{A48A48B6-3640-4B5D-B650-D8B25E56B480}" dt="2021-10-26T22:13:05.632" v="1401" actId="1076"/>
          <ac:picMkLst>
            <pc:docMk/>
            <pc:sldMk cId="1782068415" sldId="424"/>
            <ac:picMk id="12" creationId="{0C4E1E6B-BD47-40B1-8DC1-24304F8F9709}"/>
          </ac:picMkLst>
        </pc:picChg>
        <pc:picChg chg="add mod">
          <ac:chgData name="Tony Radkiewicz" userId="9832534a-7e4f-4058-9c41-7f4a5b855c95" providerId="ADAL" clId="{A48A48B6-3640-4B5D-B650-D8B25E56B480}" dt="2021-10-26T22:15:29.759" v="1403" actId="1076"/>
          <ac:picMkLst>
            <pc:docMk/>
            <pc:sldMk cId="1782068415" sldId="424"/>
            <ac:picMk id="14" creationId="{ECFBD84D-2343-4EFE-82A7-903C15D550D5}"/>
          </ac:picMkLst>
        </pc:picChg>
        <pc:picChg chg="add">
          <ac:chgData name="Tony Radkiewicz" userId="9832534a-7e4f-4058-9c41-7f4a5b855c95" providerId="ADAL" clId="{A48A48B6-3640-4B5D-B650-D8B25E56B480}" dt="2021-10-26T22:16:18.143" v="1405" actId="22"/>
          <ac:picMkLst>
            <pc:docMk/>
            <pc:sldMk cId="1782068415" sldId="424"/>
            <ac:picMk id="16" creationId="{5EB1F153-58E9-4935-B159-DDFF0DEFBFE0}"/>
          </ac:picMkLst>
        </pc:picChg>
      </pc:sldChg>
      <pc:sldChg chg="modSp add mod modNotesTx">
        <pc:chgData name="Tony Radkiewicz" userId="9832534a-7e4f-4058-9c41-7f4a5b855c95" providerId="ADAL" clId="{A48A48B6-3640-4B5D-B650-D8B25E56B480}" dt="2021-10-26T22:34:53.396" v="1475" actId="33524"/>
        <pc:sldMkLst>
          <pc:docMk/>
          <pc:sldMk cId="2846242891" sldId="429"/>
        </pc:sldMkLst>
        <pc:graphicFrameChg chg="mod">
          <ac:chgData name="Tony Radkiewicz" userId="9832534a-7e4f-4058-9c41-7f4a5b855c95" providerId="ADAL" clId="{A48A48B6-3640-4B5D-B650-D8B25E56B480}" dt="2021-10-26T22:25:32.227" v="1467" actId="14100"/>
          <ac:graphicFrameMkLst>
            <pc:docMk/>
            <pc:sldMk cId="2846242891" sldId="429"/>
            <ac:graphicFrameMk id="4" creationId="{30553AC0-86E7-48AD-AE50-152E2377470F}"/>
          </ac:graphicFrameMkLst>
        </pc:graphicFrameChg>
        <pc:picChg chg="mod">
          <ac:chgData name="Tony Radkiewicz" userId="9832534a-7e4f-4058-9c41-7f4a5b855c95" providerId="ADAL" clId="{A48A48B6-3640-4B5D-B650-D8B25E56B480}" dt="2021-10-26T22:26:12.171" v="1470" actId="1076"/>
          <ac:picMkLst>
            <pc:docMk/>
            <pc:sldMk cId="2846242891" sldId="429"/>
            <ac:picMk id="8" creationId="{A1479ED6-D3CC-42CD-9465-7CF4CEA4FD78}"/>
          </ac:picMkLst>
        </pc:picChg>
        <pc:picChg chg="mod">
          <ac:chgData name="Tony Radkiewicz" userId="9832534a-7e4f-4058-9c41-7f4a5b855c95" providerId="ADAL" clId="{A48A48B6-3640-4B5D-B650-D8B25E56B480}" dt="2021-10-26T22:26:15.179" v="1473" actId="1076"/>
          <ac:picMkLst>
            <pc:docMk/>
            <pc:sldMk cId="2846242891" sldId="429"/>
            <ac:picMk id="9" creationId="{D1239504-1450-43C1-90AD-2A29E6694784}"/>
          </ac:picMkLst>
        </pc:picChg>
      </pc:sldChg>
      <pc:sldChg chg="modSp add del mod">
        <pc:chgData name="Tony Radkiewicz" userId="9832534a-7e4f-4058-9c41-7f4a5b855c95" providerId="ADAL" clId="{A48A48B6-3640-4B5D-B650-D8B25E56B480}" dt="2021-10-26T22:41:22.589" v="1524" actId="20577"/>
        <pc:sldMkLst>
          <pc:docMk/>
          <pc:sldMk cId="331335472" sldId="430"/>
        </pc:sldMkLst>
        <pc:spChg chg="mod">
          <ac:chgData name="Tony Radkiewicz" userId="9832534a-7e4f-4058-9c41-7f4a5b855c95" providerId="ADAL" clId="{A48A48B6-3640-4B5D-B650-D8B25E56B480}" dt="2021-10-26T22:41:22.589" v="1524" actId="20577"/>
          <ac:spMkLst>
            <pc:docMk/>
            <pc:sldMk cId="331335472" sldId="430"/>
            <ac:spMk id="4" creationId="{7B221272-F632-4C2B-B329-BA04392E4744}"/>
          </ac:spMkLst>
        </pc:sp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image" Target="../media/image5.svg"/><Relationship Id="rId1" Type="http://schemas.openxmlformats.org/officeDocument/2006/relationships/image" Target="../media/image4.png"/><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diagrams/_rels/data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ata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image" Target="../media/image5.svg"/><Relationship Id="rId1" Type="http://schemas.openxmlformats.org/officeDocument/2006/relationships/image" Target="../media/image4.png"/><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diagrams/_rels/drawing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rawing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94A338-68DE-4B0C-971A-A8D49D3E51E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5E58CB16-4F89-407A-B3DE-C38085622C4C}">
      <dgm:prSet/>
      <dgm:spPr/>
      <dgm:t>
        <a:bodyPr/>
        <a:lstStyle/>
        <a:p>
          <a:pPr>
            <a:lnSpc>
              <a:spcPct val="100000"/>
            </a:lnSpc>
          </a:pPr>
          <a:r>
            <a:rPr lang="en-US" baseline="0"/>
            <a:t>Debugging Introduction</a:t>
          </a:r>
          <a:endParaRPr lang="en-US"/>
        </a:p>
      </dgm:t>
    </dgm:pt>
    <dgm:pt modelId="{B515A74B-859E-4274-8D67-94E93CB8D556}" type="parTrans" cxnId="{24AFD891-E45B-43D3-A24B-4C2E05852E29}">
      <dgm:prSet/>
      <dgm:spPr/>
      <dgm:t>
        <a:bodyPr/>
        <a:lstStyle/>
        <a:p>
          <a:endParaRPr lang="en-US"/>
        </a:p>
      </dgm:t>
    </dgm:pt>
    <dgm:pt modelId="{F99C8DFF-425A-48CC-A0ED-62264A99311D}" type="sibTrans" cxnId="{24AFD891-E45B-43D3-A24B-4C2E05852E29}">
      <dgm:prSet/>
      <dgm:spPr/>
      <dgm:t>
        <a:bodyPr/>
        <a:lstStyle/>
        <a:p>
          <a:endParaRPr lang="en-US"/>
        </a:p>
      </dgm:t>
    </dgm:pt>
    <dgm:pt modelId="{6775A388-BEE0-4DB6-9A46-7377A19AC8AB}">
      <dgm:prSet/>
      <dgm:spPr/>
      <dgm:t>
        <a:bodyPr/>
        <a:lstStyle/>
        <a:p>
          <a:pPr>
            <a:lnSpc>
              <a:spcPct val="100000"/>
            </a:lnSpc>
          </a:pPr>
          <a:r>
            <a:rPr lang="en-US" baseline="0"/>
            <a:t>Debugging In The ISE</a:t>
          </a:r>
          <a:endParaRPr lang="en-US"/>
        </a:p>
      </dgm:t>
    </dgm:pt>
    <dgm:pt modelId="{3B7703B6-D017-4562-8C73-E6E5A9584293}" type="parTrans" cxnId="{2A321150-04C8-4AF1-AF19-FF768BA45ABC}">
      <dgm:prSet/>
      <dgm:spPr/>
      <dgm:t>
        <a:bodyPr/>
        <a:lstStyle/>
        <a:p>
          <a:endParaRPr lang="en-US"/>
        </a:p>
      </dgm:t>
    </dgm:pt>
    <dgm:pt modelId="{EADDF2CE-17EA-4EEB-9A8A-7ABA84F33DDC}" type="sibTrans" cxnId="{2A321150-04C8-4AF1-AF19-FF768BA45ABC}">
      <dgm:prSet/>
      <dgm:spPr/>
      <dgm:t>
        <a:bodyPr/>
        <a:lstStyle/>
        <a:p>
          <a:endParaRPr lang="en-US"/>
        </a:p>
      </dgm:t>
    </dgm:pt>
    <dgm:pt modelId="{398B8DA3-5FC8-4CC6-A6FF-EC0C1F4C64CB}">
      <dgm:prSet/>
      <dgm:spPr/>
      <dgm:t>
        <a:bodyPr/>
        <a:lstStyle/>
        <a:p>
          <a:pPr>
            <a:lnSpc>
              <a:spcPct val="100000"/>
            </a:lnSpc>
          </a:pPr>
          <a:r>
            <a:rPr lang="en-US" baseline="0"/>
            <a:t>Additional Debugging Cmdlets</a:t>
          </a:r>
          <a:endParaRPr lang="en-US"/>
        </a:p>
      </dgm:t>
    </dgm:pt>
    <dgm:pt modelId="{A090638D-67B5-48E8-8745-55E5C9CE5C55}" type="parTrans" cxnId="{42D34EDA-F133-4D61-9B2D-EC8A041EFCCB}">
      <dgm:prSet/>
      <dgm:spPr/>
      <dgm:t>
        <a:bodyPr/>
        <a:lstStyle/>
        <a:p>
          <a:endParaRPr lang="en-US"/>
        </a:p>
      </dgm:t>
    </dgm:pt>
    <dgm:pt modelId="{6515D543-34DA-4636-850C-7CAE54C1F1F9}" type="sibTrans" cxnId="{42D34EDA-F133-4D61-9B2D-EC8A041EFCCB}">
      <dgm:prSet/>
      <dgm:spPr/>
      <dgm:t>
        <a:bodyPr/>
        <a:lstStyle/>
        <a:p>
          <a:endParaRPr lang="en-US"/>
        </a:p>
      </dgm:t>
    </dgm:pt>
    <dgm:pt modelId="{51AA0767-2EF5-40AD-B761-B89B05431F28}">
      <dgm:prSet/>
      <dgm:spPr/>
      <dgm:t>
        <a:bodyPr/>
        <a:lstStyle/>
        <a:p>
          <a:pPr>
            <a:lnSpc>
              <a:spcPct val="100000"/>
            </a:lnSpc>
          </a:pPr>
          <a:r>
            <a:rPr lang="en-US"/>
            <a:t>Breakpoints</a:t>
          </a:r>
        </a:p>
      </dgm:t>
    </dgm:pt>
    <dgm:pt modelId="{6E7D3BA5-1D9F-46D0-B679-60E2DF238173}" type="parTrans" cxnId="{144C7330-C0B8-4378-98E8-D0828A6F13E6}">
      <dgm:prSet/>
      <dgm:spPr/>
      <dgm:t>
        <a:bodyPr/>
        <a:lstStyle/>
        <a:p>
          <a:endParaRPr lang="en-US"/>
        </a:p>
      </dgm:t>
    </dgm:pt>
    <dgm:pt modelId="{52DFE90D-E911-4D05-8890-D34C07113C35}" type="sibTrans" cxnId="{144C7330-C0B8-4378-98E8-D0828A6F13E6}">
      <dgm:prSet/>
      <dgm:spPr/>
      <dgm:t>
        <a:bodyPr/>
        <a:lstStyle/>
        <a:p>
          <a:endParaRPr lang="en-US"/>
        </a:p>
      </dgm:t>
    </dgm:pt>
    <dgm:pt modelId="{294CCE96-9904-469D-9B68-1CF624E3220F}">
      <dgm:prSet/>
      <dgm:spPr/>
      <dgm:t>
        <a:bodyPr/>
        <a:lstStyle/>
        <a:p>
          <a:pPr>
            <a:lnSpc>
              <a:spcPct val="100000"/>
            </a:lnSpc>
          </a:pPr>
          <a:r>
            <a:rPr lang="en-US"/>
            <a:t>Debugger Actions</a:t>
          </a:r>
        </a:p>
      </dgm:t>
    </dgm:pt>
    <dgm:pt modelId="{48625327-D3BC-4EE8-BD47-A1AD72290DBC}" type="parTrans" cxnId="{C67E5D1F-D2A7-4D0B-8028-A30C14A0F863}">
      <dgm:prSet/>
      <dgm:spPr/>
      <dgm:t>
        <a:bodyPr/>
        <a:lstStyle/>
        <a:p>
          <a:endParaRPr lang="en-US"/>
        </a:p>
      </dgm:t>
    </dgm:pt>
    <dgm:pt modelId="{16F22CF9-9C98-4580-BC30-9687702FB844}" type="sibTrans" cxnId="{C67E5D1F-D2A7-4D0B-8028-A30C14A0F863}">
      <dgm:prSet/>
      <dgm:spPr/>
      <dgm:t>
        <a:bodyPr/>
        <a:lstStyle/>
        <a:p>
          <a:endParaRPr lang="en-US"/>
        </a:p>
      </dgm:t>
    </dgm:pt>
    <dgm:pt modelId="{F9258066-E10C-4D6E-AF71-F75ED51E57B8}">
      <dgm:prSet/>
      <dgm:spPr/>
      <dgm:t>
        <a:bodyPr/>
        <a:lstStyle/>
        <a:p>
          <a:pPr>
            <a:lnSpc>
              <a:spcPct val="100000"/>
            </a:lnSpc>
          </a:pPr>
          <a:r>
            <a:rPr lang="en-US"/>
            <a:t>Debugging In </a:t>
          </a:r>
          <a:r>
            <a:rPr lang="en-US" err="1"/>
            <a:t>VSCode</a:t>
          </a:r>
          <a:r>
            <a:rPr lang="en-US"/>
            <a:t> Demo</a:t>
          </a:r>
        </a:p>
      </dgm:t>
    </dgm:pt>
    <dgm:pt modelId="{A86524DD-13CF-4A1B-A6DC-42A09407B9A5}" type="parTrans" cxnId="{6A26C3CD-BE51-4077-A69F-95E4DD7FB3D3}">
      <dgm:prSet/>
      <dgm:spPr/>
      <dgm:t>
        <a:bodyPr/>
        <a:lstStyle/>
        <a:p>
          <a:endParaRPr lang="en-US"/>
        </a:p>
      </dgm:t>
    </dgm:pt>
    <dgm:pt modelId="{77B4BA15-963E-4390-AE0F-2662E1DB699C}" type="sibTrans" cxnId="{6A26C3CD-BE51-4077-A69F-95E4DD7FB3D3}">
      <dgm:prSet/>
      <dgm:spPr/>
      <dgm:t>
        <a:bodyPr/>
        <a:lstStyle/>
        <a:p>
          <a:endParaRPr lang="en-US"/>
        </a:p>
      </dgm:t>
    </dgm:pt>
    <dgm:pt modelId="{9D46D6C5-C427-47CB-88CE-BF122641BC43}" type="pres">
      <dgm:prSet presAssocID="{7E94A338-68DE-4B0C-971A-A8D49D3E51E6}" presName="root" presStyleCnt="0">
        <dgm:presLayoutVars>
          <dgm:dir/>
          <dgm:resizeHandles val="exact"/>
        </dgm:presLayoutVars>
      </dgm:prSet>
      <dgm:spPr/>
    </dgm:pt>
    <dgm:pt modelId="{0384C731-8A1C-436F-AB6B-1C7539B86FBD}" type="pres">
      <dgm:prSet presAssocID="{5E58CB16-4F89-407A-B3DE-C38085622C4C}" presName="compNode" presStyleCnt="0"/>
      <dgm:spPr/>
    </dgm:pt>
    <dgm:pt modelId="{20452F5E-9980-4AEA-8AC1-9A079E63CE36}" type="pres">
      <dgm:prSet presAssocID="{5E58CB16-4F89-407A-B3DE-C38085622C4C}" presName="bgRect" presStyleLbl="bgShp" presStyleIdx="0" presStyleCnt="6"/>
      <dgm:spPr/>
    </dgm:pt>
    <dgm:pt modelId="{FBA25CBC-05BE-4D70-BFD9-4D6E2875F41D}" type="pres">
      <dgm:prSet presAssocID="{5E58CB16-4F89-407A-B3DE-C38085622C4C}" presName="iconRect" presStyleLbl="node1" presStyleIdx="0" presStyleCnt="6"/>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Head with gears with solid fill"/>
        </a:ext>
      </dgm:extLst>
    </dgm:pt>
    <dgm:pt modelId="{F4502DE2-3252-48A1-AEF5-F8AE6DB6829E}" type="pres">
      <dgm:prSet presAssocID="{5E58CB16-4F89-407A-B3DE-C38085622C4C}" presName="spaceRect" presStyleCnt="0"/>
      <dgm:spPr/>
    </dgm:pt>
    <dgm:pt modelId="{0B018CFF-A107-4CEC-AD21-40E8D446B3C4}" type="pres">
      <dgm:prSet presAssocID="{5E58CB16-4F89-407A-B3DE-C38085622C4C}" presName="parTx" presStyleLbl="revTx" presStyleIdx="0" presStyleCnt="6">
        <dgm:presLayoutVars>
          <dgm:chMax val="0"/>
          <dgm:chPref val="0"/>
        </dgm:presLayoutVars>
      </dgm:prSet>
      <dgm:spPr/>
    </dgm:pt>
    <dgm:pt modelId="{7685870C-3084-4F1B-ADF7-E4B0A6006062}" type="pres">
      <dgm:prSet presAssocID="{F99C8DFF-425A-48CC-A0ED-62264A99311D}" presName="sibTrans" presStyleCnt="0"/>
      <dgm:spPr/>
    </dgm:pt>
    <dgm:pt modelId="{58B7C375-BCF1-44D4-9E8C-12369F1D16E7}" type="pres">
      <dgm:prSet presAssocID="{51AA0767-2EF5-40AD-B761-B89B05431F28}" presName="compNode" presStyleCnt="0"/>
      <dgm:spPr/>
    </dgm:pt>
    <dgm:pt modelId="{1D558748-84C0-4214-9F7B-05CDD2F6988D}" type="pres">
      <dgm:prSet presAssocID="{51AA0767-2EF5-40AD-B761-B89B05431F28}" presName="bgRect" presStyleLbl="bgShp" presStyleIdx="1" presStyleCnt="6"/>
      <dgm:spPr/>
    </dgm:pt>
    <dgm:pt modelId="{91A20D69-5FD7-4328-910E-250C39DAFC73}" type="pres">
      <dgm:prSet presAssocID="{51AA0767-2EF5-40AD-B761-B89B05431F28}"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Pause with solid fill"/>
        </a:ext>
      </dgm:extLst>
    </dgm:pt>
    <dgm:pt modelId="{AED31716-4503-44F2-AFCA-875740F977D5}" type="pres">
      <dgm:prSet presAssocID="{51AA0767-2EF5-40AD-B761-B89B05431F28}" presName="spaceRect" presStyleCnt="0"/>
      <dgm:spPr/>
    </dgm:pt>
    <dgm:pt modelId="{6FADF18B-557F-4133-B084-07EA8C1FFE9B}" type="pres">
      <dgm:prSet presAssocID="{51AA0767-2EF5-40AD-B761-B89B05431F28}" presName="parTx" presStyleLbl="revTx" presStyleIdx="1" presStyleCnt="6">
        <dgm:presLayoutVars>
          <dgm:chMax val="0"/>
          <dgm:chPref val="0"/>
        </dgm:presLayoutVars>
      </dgm:prSet>
      <dgm:spPr/>
    </dgm:pt>
    <dgm:pt modelId="{3FCE46A6-4F0F-466C-8896-3AB0332B64A1}" type="pres">
      <dgm:prSet presAssocID="{52DFE90D-E911-4D05-8890-D34C07113C35}" presName="sibTrans" presStyleCnt="0"/>
      <dgm:spPr/>
    </dgm:pt>
    <dgm:pt modelId="{DA94FF62-4159-46A1-9B75-93DE82A5567D}" type="pres">
      <dgm:prSet presAssocID="{294CCE96-9904-469D-9B68-1CF624E3220F}" presName="compNode" presStyleCnt="0"/>
      <dgm:spPr/>
    </dgm:pt>
    <dgm:pt modelId="{8A0F62EE-7EFD-4842-94E6-F7A5AA86EEAE}" type="pres">
      <dgm:prSet presAssocID="{294CCE96-9904-469D-9B68-1CF624E3220F}" presName="bgRect" presStyleLbl="bgShp" presStyleIdx="2" presStyleCnt="6"/>
      <dgm:spPr/>
    </dgm:pt>
    <dgm:pt modelId="{805894EC-7F7A-4A38-8875-B758099975C6}" type="pres">
      <dgm:prSet presAssocID="{294CCE96-9904-469D-9B68-1CF624E3220F}"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Flowchart with solid fill"/>
        </a:ext>
      </dgm:extLst>
    </dgm:pt>
    <dgm:pt modelId="{988F40FE-6114-445C-BD29-3CC1D31C091D}" type="pres">
      <dgm:prSet presAssocID="{294CCE96-9904-469D-9B68-1CF624E3220F}" presName="spaceRect" presStyleCnt="0"/>
      <dgm:spPr/>
    </dgm:pt>
    <dgm:pt modelId="{36AD931E-FD08-42D3-8111-65E0CF6CC997}" type="pres">
      <dgm:prSet presAssocID="{294CCE96-9904-469D-9B68-1CF624E3220F}" presName="parTx" presStyleLbl="revTx" presStyleIdx="2" presStyleCnt="6">
        <dgm:presLayoutVars>
          <dgm:chMax val="0"/>
          <dgm:chPref val="0"/>
        </dgm:presLayoutVars>
      </dgm:prSet>
      <dgm:spPr/>
    </dgm:pt>
    <dgm:pt modelId="{D230EF8F-462E-4A20-93CA-1B88560A0535}" type="pres">
      <dgm:prSet presAssocID="{16F22CF9-9C98-4580-BC30-9687702FB844}" presName="sibTrans" presStyleCnt="0"/>
      <dgm:spPr/>
    </dgm:pt>
    <dgm:pt modelId="{91E3870C-765C-4AE8-B64B-A600709C9F76}" type="pres">
      <dgm:prSet presAssocID="{6775A388-BEE0-4DB6-9A46-7377A19AC8AB}" presName="compNode" presStyleCnt="0"/>
      <dgm:spPr/>
    </dgm:pt>
    <dgm:pt modelId="{DC5C999E-4F24-4783-BE3D-C88B050C6F8F}" type="pres">
      <dgm:prSet presAssocID="{6775A388-BEE0-4DB6-9A46-7377A19AC8AB}" presName="bgRect" presStyleLbl="bgShp" presStyleIdx="3" presStyleCnt="6"/>
      <dgm:spPr/>
    </dgm:pt>
    <dgm:pt modelId="{1FCC273D-44CF-4C0A-BA70-B10789E5BDCD}" type="pres">
      <dgm:prSet presAssocID="{6775A388-BEE0-4DB6-9A46-7377A19AC8AB}"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onitor"/>
        </a:ext>
      </dgm:extLst>
    </dgm:pt>
    <dgm:pt modelId="{ECFFE823-EE28-4DD0-A622-42791CE214D3}" type="pres">
      <dgm:prSet presAssocID="{6775A388-BEE0-4DB6-9A46-7377A19AC8AB}" presName="spaceRect" presStyleCnt="0"/>
      <dgm:spPr/>
    </dgm:pt>
    <dgm:pt modelId="{C5E18E6A-2EAA-4A93-86E5-D7377E143AA6}" type="pres">
      <dgm:prSet presAssocID="{6775A388-BEE0-4DB6-9A46-7377A19AC8AB}" presName="parTx" presStyleLbl="revTx" presStyleIdx="3" presStyleCnt="6">
        <dgm:presLayoutVars>
          <dgm:chMax val="0"/>
          <dgm:chPref val="0"/>
        </dgm:presLayoutVars>
      </dgm:prSet>
      <dgm:spPr/>
    </dgm:pt>
    <dgm:pt modelId="{4E9A7951-EDC8-4A8B-B272-697A412EAFC0}" type="pres">
      <dgm:prSet presAssocID="{EADDF2CE-17EA-4EEB-9A8A-7ABA84F33DDC}" presName="sibTrans" presStyleCnt="0"/>
      <dgm:spPr/>
    </dgm:pt>
    <dgm:pt modelId="{6A3F2077-4738-4CFE-A5EA-D3D3EE87847C}" type="pres">
      <dgm:prSet presAssocID="{398B8DA3-5FC8-4CC6-A6FF-EC0C1F4C64CB}" presName="compNode" presStyleCnt="0"/>
      <dgm:spPr/>
    </dgm:pt>
    <dgm:pt modelId="{5CB11BAC-E9FF-4F51-8520-6A6D9CA1F372}" type="pres">
      <dgm:prSet presAssocID="{398B8DA3-5FC8-4CC6-A6FF-EC0C1F4C64CB}" presName="bgRect" presStyleLbl="bgShp" presStyleIdx="4" presStyleCnt="6"/>
      <dgm:spPr/>
    </dgm:pt>
    <dgm:pt modelId="{C4A40EAA-A9E7-441C-BB40-E88B6D09F376}" type="pres">
      <dgm:prSet presAssocID="{398B8DA3-5FC8-4CC6-A6FF-EC0C1F4C64CB}" presName="iconRect" presStyleLbl="node1" presStyleIdx="4" presStyleCnt="6"/>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Cmd Terminal with solid fill"/>
        </a:ext>
      </dgm:extLst>
    </dgm:pt>
    <dgm:pt modelId="{F4D7BE63-3F03-48BC-B350-B3B001FAB42C}" type="pres">
      <dgm:prSet presAssocID="{398B8DA3-5FC8-4CC6-A6FF-EC0C1F4C64CB}" presName="spaceRect" presStyleCnt="0"/>
      <dgm:spPr/>
    </dgm:pt>
    <dgm:pt modelId="{2FBC708E-2679-42CA-828F-C406BC08BC5D}" type="pres">
      <dgm:prSet presAssocID="{398B8DA3-5FC8-4CC6-A6FF-EC0C1F4C64CB}" presName="parTx" presStyleLbl="revTx" presStyleIdx="4" presStyleCnt="6">
        <dgm:presLayoutVars>
          <dgm:chMax val="0"/>
          <dgm:chPref val="0"/>
        </dgm:presLayoutVars>
      </dgm:prSet>
      <dgm:spPr/>
    </dgm:pt>
    <dgm:pt modelId="{FD9D49D1-5732-4B97-A08B-BC3B6EA9D3E7}" type="pres">
      <dgm:prSet presAssocID="{6515D543-34DA-4636-850C-7CAE54C1F1F9}" presName="sibTrans" presStyleCnt="0"/>
      <dgm:spPr/>
    </dgm:pt>
    <dgm:pt modelId="{2160302C-BDB5-4F2A-83C4-960DEE72C6F9}" type="pres">
      <dgm:prSet presAssocID="{F9258066-E10C-4D6E-AF71-F75ED51E57B8}" presName="compNode" presStyleCnt="0"/>
      <dgm:spPr/>
    </dgm:pt>
    <dgm:pt modelId="{9767A8CC-4E43-4C9A-ABB6-CF43FF42BBEA}" type="pres">
      <dgm:prSet presAssocID="{F9258066-E10C-4D6E-AF71-F75ED51E57B8}" presName="bgRect" presStyleLbl="bgShp" presStyleIdx="5" presStyleCnt="6"/>
      <dgm:spPr/>
    </dgm:pt>
    <dgm:pt modelId="{4373B1F6-9CAD-4396-B6C1-81EC556177D2}" type="pres">
      <dgm:prSet presAssocID="{F9258066-E10C-4D6E-AF71-F75ED51E57B8}" presName="iconRect" presStyleLbl="node1" presStyleIdx="5" presStyleCnt="6"/>
      <dgm:spPr>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a:ln>
          <a:noFill/>
        </a:ln>
      </dgm:spPr>
      <dgm:extLst>
        <a:ext uri="{E40237B7-FDA0-4F09-8148-C483321AD2D9}">
          <dgm14:cNvPr xmlns:dgm14="http://schemas.microsoft.com/office/drawing/2010/diagram" id="0" name="" descr="Programmer male with solid fill"/>
        </a:ext>
      </dgm:extLst>
    </dgm:pt>
    <dgm:pt modelId="{48B1567F-3395-47EB-ABE9-A8B173CC4106}" type="pres">
      <dgm:prSet presAssocID="{F9258066-E10C-4D6E-AF71-F75ED51E57B8}" presName="spaceRect" presStyleCnt="0"/>
      <dgm:spPr/>
    </dgm:pt>
    <dgm:pt modelId="{21795A8C-A5FC-4E8F-AF39-06424916CBDC}" type="pres">
      <dgm:prSet presAssocID="{F9258066-E10C-4D6E-AF71-F75ED51E57B8}" presName="parTx" presStyleLbl="revTx" presStyleIdx="5" presStyleCnt="6">
        <dgm:presLayoutVars>
          <dgm:chMax val="0"/>
          <dgm:chPref val="0"/>
        </dgm:presLayoutVars>
      </dgm:prSet>
      <dgm:spPr/>
    </dgm:pt>
  </dgm:ptLst>
  <dgm:cxnLst>
    <dgm:cxn modelId="{C67E5D1F-D2A7-4D0B-8028-A30C14A0F863}" srcId="{7E94A338-68DE-4B0C-971A-A8D49D3E51E6}" destId="{294CCE96-9904-469D-9B68-1CF624E3220F}" srcOrd="2" destOrd="0" parTransId="{48625327-D3BC-4EE8-BD47-A1AD72290DBC}" sibTransId="{16F22CF9-9C98-4580-BC30-9687702FB844}"/>
    <dgm:cxn modelId="{144C7330-C0B8-4378-98E8-D0828A6F13E6}" srcId="{7E94A338-68DE-4B0C-971A-A8D49D3E51E6}" destId="{51AA0767-2EF5-40AD-B761-B89B05431F28}" srcOrd="1" destOrd="0" parTransId="{6E7D3BA5-1D9F-46D0-B679-60E2DF238173}" sibTransId="{52DFE90D-E911-4D05-8890-D34C07113C35}"/>
    <dgm:cxn modelId="{58099839-2FC3-4220-8BC2-F86053D7D345}" type="presOf" srcId="{51AA0767-2EF5-40AD-B761-B89B05431F28}" destId="{6FADF18B-557F-4133-B084-07EA8C1FFE9B}" srcOrd="0" destOrd="0" presId="urn:microsoft.com/office/officeart/2018/2/layout/IconVerticalSolidList"/>
    <dgm:cxn modelId="{3C076761-5A72-46EA-AFC5-F5337A35CA5E}" type="presOf" srcId="{7E94A338-68DE-4B0C-971A-A8D49D3E51E6}" destId="{9D46D6C5-C427-47CB-88CE-BF122641BC43}" srcOrd="0" destOrd="0" presId="urn:microsoft.com/office/officeart/2018/2/layout/IconVerticalSolidList"/>
    <dgm:cxn modelId="{2A321150-04C8-4AF1-AF19-FF768BA45ABC}" srcId="{7E94A338-68DE-4B0C-971A-A8D49D3E51E6}" destId="{6775A388-BEE0-4DB6-9A46-7377A19AC8AB}" srcOrd="3" destOrd="0" parTransId="{3B7703B6-D017-4562-8C73-E6E5A9584293}" sibTransId="{EADDF2CE-17EA-4EEB-9A8A-7ABA84F33DDC}"/>
    <dgm:cxn modelId="{9ADCA159-3B5F-4A11-9AEA-55263C9BE0EA}" type="presOf" srcId="{6775A388-BEE0-4DB6-9A46-7377A19AC8AB}" destId="{C5E18E6A-2EAA-4A93-86E5-D7377E143AA6}" srcOrd="0" destOrd="0" presId="urn:microsoft.com/office/officeart/2018/2/layout/IconVerticalSolidList"/>
    <dgm:cxn modelId="{24AFD891-E45B-43D3-A24B-4C2E05852E29}" srcId="{7E94A338-68DE-4B0C-971A-A8D49D3E51E6}" destId="{5E58CB16-4F89-407A-B3DE-C38085622C4C}" srcOrd="0" destOrd="0" parTransId="{B515A74B-859E-4274-8D67-94E93CB8D556}" sibTransId="{F99C8DFF-425A-48CC-A0ED-62264A99311D}"/>
    <dgm:cxn modelId="{FC93C7C9-571B-40C1-8017-166EE34CA9E6}" type="presOf" srcId="{398B8DA3-5FC8-4CC6-A6FF-EC0C1F4C64CB}" destId="{2FBC708E-2679-42CA-828F-C406BC08BC5D}" srcOrd="0" destOrd="0" presId="urn:microsoft.com/office/officeart/2018/2/layout/IconVerticalSolidList"/>
    <dgm:cxn modelId="{6A26C3CD-BE51-4077-A69F-95E4DD7FB3D3}" srcId="{7E94A338-68DE-4B0C-971A-A8D49D3E51E6}" destId="{F9258066-E10C-4D6E-AF71-F75ED51E57B8}" srcOrd="5" destOrd="0" parTransId="{A86524DD-13CF-4A1B-A6DC-42A09407B9A5}" sibTransId="{77B4BA15-963E-4390-AE0F-2662E1DB699C}"/>
    <dgm:cxn modelId="{42D34EDA-F133-4D61-9B2D-EC8A041EFCCB}" srcId="{7E94A338-68DE-4B0C-971A-A8D49D3E51E6}" destId="{398B8DA3-5FC8-4CC6-A6FF-EC0C1F4C64CB}" srcOrd="4" destOrd="0" parTransId="{A090638D-67B5-48E8-8745-55E5C9CE5C55}" sibTransId="{6515D543-34DA-4636-850C-7CAE54C1F1F9}"/>
    <dgm:cxn modelId="{075E22E3-5D82-404B-873B-2256685F0ABF}" type="presOf" srcId="{5E58CB16-4F89-407A-B3DE-C38085622C4C}" destId="{0B018CFF-A107-4CEC-AD21-40E8D446B3C4}" srcOrd="0" destOrd="0" presId="urn:microsoft.com/office/officeart/2018/2/layout/IconVerticalSolidList"/>
    <dgm:cxn modelId="{B6D059E3-6AC3-426B-A5B0-E8B250D4A5EC}" type="presOf" srcId="{294CCE96-9904-469D-9B68-1CF624E3220F}" destId="{36AD931E-FD08-42D3-8111-65E0CF6CC997}" srcOrd="0" destOrd="0" presId="urn:microsoft.com/office/officeart/2018/2/layout/IconVerticalSolidList"/>
    <dgm:cxn modelId="{2AA2A8FD-DCB4-4F55-84EA-5EC7C762105E}" type="presOf" srcId="{F9258066-E10C-4D6E-AF71-F75ED51E57B8}" destId="{21795A8C-A5FC-4E8F-AF39-06424916CBDC}" srcOrd="0" destOrd="0" presId="urn:microsoft.com/office/officeart/2018/2/layout/IconVerticalSolidList"/>
    <dgm:cxn modelId="{8811C005-1A9E-4DAB-A86A-F1C18F709E42}" type="presParOf" srcId="{9D46D6C5-C427-47CB-88CE-BF122641BC43}" destId="{0384C731-8A1C-436F-AB6B-1C7539B86FBD}" srcOrd="0" destOrd="0" presId="urn:microsoft.com/office/officeart/2018/2/layout/IconVerticalSolidList"/>
    <dgm:cxn modelId="{590C0BA1-759B-46C4-B5D9-B3418CC10917}" type="presParOf" srcId="{0384C731-8A1C-436F-AB6B-1C7539B86FBD}" destId="{20452F5E-9980-4AEA-8AC1-9A079E63CE36}" srcOrd="0" destOrd="0" presId="urn:microsoft.com/office/officeart/2018/2/layout/IconVerticalSolidList"/>
    <dgm:cxn modelId="{A302EFD5-2583-48BD-A81C-82B318F9DA24}" type="presParOf" srcId="{0384C731-8A1C-436F-AB6B-1C7539B86FBD}" destId="{FBA25CBC-05BE-4D70-BFD9-4D6E2875F41D}" srcOrd="1" destOrd="0" presId="urn:microsoft.com/office/officeart/2018/2/layout/IconVerticalSolidList"/>
    <dgm:cxn modelId="{E39CA364-E6F5-4AF1-8417-0E1EDC7D684A}" type="presParOf" srcId="{0384C731-8A1C-436F-AB6B-1C7539B86FBD}" destId="{F4502DE2-3252-48A1-AEF5-F8AE6DB6829E}" srcOrd="2" destOrd="0" presId="urn:microsoft.com/office/officeart/2018/2/layout/IconVerticalSolidList"/>
    <dgm:cxn modelId="{DB3F6E64-9876-4E2E-822E-E6F5AF435803}" type="presParOf" srcId="{0384C731-8A1C-436F-AB6B-1C7539B86FBD}" destId="{0B018CFF-A107-4CEC-AD21-40E8D446B3C4}" srcOrd="3" destOrd="0" presId="urn:microsoft.com/office/officeart/2018/2/layout/IconVerticalSolidList"/>
    <dgm:cxn modelId="{B07A2E49-C3CC-49ED-A24E-0CD898D25DA0}" type="presParOf" srcId="{9D46D6C5-C427-47CB-88CE-BF122641BC43}" destId="{7685870C-3084-4F1B-ADF7-E4B0A6006062}" srcOrd="1" destOrd="0" presId="urn:microsoft.com/office/officeart/2018/2/layout/IconVerticalSolidList"/>
    <dgm:cxn modelId="{BA749DC8-7E21-43C6-B6DC-46109E7E716D}" type="presParOf" srcId="{9D46D6C5-C427-47CB-88CE-BF122641BC43}" destId="{58B7C375-BCF1-44D4-9E8C-12369F1D16E7}" srcOrd="2" destOrd="0" presId="urn:microsoft.com/office/officeart/2018/2/layout/IconVerticalSolidList"/>
    <dgm:cxn modelId="{B009E8C0-2C25-4C94-9839-7F455253EF25}" type="presParOf" srcId="{58B7C375-BCF1-44D4-9E8C-12369F1D16E7}" destId="{1D558748-84C0-4214-9F7B-05CDD2F6988D}" srcOrd="0" destOrd="0" presId="urn:microsoft.com/office/officeart/2018/2/layout/IconVerticalSolidList"/>
    <dgm:cxn modelId="{324AA9B0-C20A-4181-AF86-2181F52F6A78}" type="presParOf" srcId="{58B7C375-BCF1-44D4-9E8C-12369F1D16E7}" destId="{91A20D69-5FD7-4328-910E-250C39DAFC73}" srcOrd="1" destOrd="0" presId="urn:microsoft.com/office/officeart/2018/2/layout/IconVerticalSolidList"/>
    <dgm:cxn modelId="{BB8FF3C7-E01C-4935-83AE-63788F737941}" type="presParOf" srcId="{58B7C375-BCF1-44D4-9E8C-12369F1D16E7}" destId="{AED31716-4503-44F2-AFCA-875740F977D5}" srcOrd="2" destOrd="0" presId="urn:microsoft.com/office/officeart/2018/2/layout/IconVerticalSolidList"/>
    <dgm:cxn modelId="{BF7A8E2D-0D3F-407F-8E27-13B7250891ED}" type="presParOf" srcId="{58B7C375-BCF1-44D4-9E8C-12369F1D16E7}" destId="{6FADF18B-557F-4133-B084-07EA8C1FFE9B}" srcOrd="3" destOrd="0" presId="urn:microsoft.com/office/officeart/2018/2/layout/IconVerticalSolidList"/>
    <dgm:cxn modelId="{E5D8C608-94BC-4324-AFE1-6D613FB91D6B}" type="presParOf" srcId="{9D46D6C5-C427-47CB-88CE-BF122641BC43}" destId="{3FCE46A6-4F0F-466C-8896-3AB0332B64A1}" srcOrd="3" destOrd="0" presId="urn:microsoft.com/office/officeart/2018/2/layout/IconVerticalSolidList"/>
    <dgm:cxn modelId="{23AD33CF-BEA1-4E88-8DC3-755A51EF8BA5}" type="presParOf" srcId="{9D46D6C5-C427-47CB-88CE-BF122641BC43}" destId="{DA94FF62-4159-46A1-9B75-93DE82A5567D}" srcOrd="4" destOrd="0" presId="urn:microsoft.com/office/officeart/2018/2/layout/IconVerticalSolidList"/>
    <dgm:cxn modelId="{255DF230-FCF5-4A1C-A788-E05D13747018}" type="presParOf" srcId="{DA94FF62-4159-46A1-9B75-93DE82A5567D}" destId="{8A0F62EE-7EFD-4842-94E6-F7A5AA86EEAE}" srcOrd="0" destOrd="0" presId="urn:microsoft.com/office/officeart/2018/2/layout/IconVerticalSolidList"/>
    <dgm:cxn modelId="{2684A425-7D0F-44C2-A903-44DBD832C54B}" type="presParOf" srcId="{DA94FF62-4159-46A1-9B75-93DE82A5567D}" destId="{805894EC-7F7A-4A38-8875-B758099975C6}" srcOrd="1" destOrd="0" presId="urn:microsoft.com/office/officeart/2018/2/layout/IconVerticalSolidList"/>
    <dgm:cxn modelId="{132E8106-018C-4859-B00E-1043902ACE84}" type="presParOf" srcId="{DA94FF62-4159-46A1-9B75-93DE82A5567D}" destId="{988F40FE-6114-445C-BD29-3CC1D31C091D}" srcOrd="2" destOrd="0" presId="urn:microsoft.com/office/officeart/2018/2/layout/IconVerticalSolidList"/>
    <dgm:cxn modelId="{8F9137FB-6B84-49CB-AA88-1106C4B7E2BE}" type="presParOf" srcId="{DA94FF62-4159-46A1-9B75-93DE82A5567D}" destId="{36AD931E-FD08-42D3-8111-65E0CF6CC997}" srcOrd="3" destOrd="0" presId="urn:microsoft.com/office/officeart/2018/2/layout/IconVerticalSolidList"/>
    <dgm:cxn modelId="{01FB577E-95BC-4E30-9E32-80FABD054568}" type="presParOf" srcId="{9D46D6C5-C427-47CB-88CE-BF122641BC43}" destId="{D230EF8F-462E-4A20-93CA-1B88560A0535}" srcOrd="5" destOrd="0" presId="urn:microsoft.com/office/officeart/2018/2/layout/IconVerticalSolidList"/>
    <dgm:cxn modelId="{407341BD-8A70-41D9-AB30-ECC2A5404F7A}" type="presParOf" srcId="{9D46D6C5-C427-47CB-88CE-BF122641BC43}" destId="{91E3870C-765C-4AE8-B64B-A600709C9F76}" srcOrd="6" destOrd="0" presId="urn:microsoft.com/office/officeart/2018/2/layout/IconVerticalSolidList"/>
    <dgm:cxn modelId="{CF381BA2-0784-4A03-96FE-A1AD313989F0}" type="presParOf" srcId="{91E3870C-765C-4AE8-B64B-A600709C9F76}" destId="{DC5C999E-4F24-4783-BE3D-C88B050C6F8F}" srcOrd="0" destOrd="0" presId="urn:microsoft.com/office/officeart/2018/2/layout/IconVerticalSolidList"/>
    <dgm:cxn modelId="{3F05D0DC-3AB1-4BF7-BA8C-5509C029AA12}" type="presParOf" srcId="{91E3870C-765C-4AE8-B64B-A600709C9F76}" destId="{1FCC273D-44CF-4C0A-BA70-B10789E5BDCD}" srcOrd="1" destOrd="0" presId="urn:microsoft.com/office/officeart/2018/2/layout/IconVerticalSolidList"/>
    <dgm:cxn modelId="{05CB2117-9CA7-426E-9928-9208865AC071}" type="presParOf" srcId="{91E3870C-765C-4AE8-B64B-A600709C9F76}" destId="{ECFFE823-EE28-4DD0-A622-42791CE214D3}" srcOrd="2" destOrd="0" presId="urn:microsoft.com/office/officeart/2018/2/layout/IconVerticalSolidList"/>
    <dgm:cxn modelId="{17B8FFD9-2764-444B-8C0D-BC5D515087CA}" type="presParOf" srcId="{91E3870C-765C-4AE8-B64B-A600709C9F76}" destId="{C5E18E6A-2EAA-4A93-86E5-D7377E143AA6}" srcOrd="3" destOrd="0" presId="urn:microsoft.com/office/officeart/2018/2/layout/IconVerticalSolidList"/>
    <dgm:cxn modelId="{94CA7072-9D75-4CF6-A463-1B4BEBF4E792}" type="presParOf" srcId="{9D46D6C5-C427-47CB-88CE-BF122641BC43}" destId="{4E9A7951-EDC8-4A8B-B272-697A412EAFC0}" srcOrd="7" destOrd="0" presId="urn:microsoft.com/office/officeart/2018/2/layout/IconVerticalSolidList"/>
    <dgm:cxn modelId="{AC5FFE0A-2E60-42FC-8E12-E8397D0C8995}" type="presParOf" srcId="{9D46D6C5-C427-47CB-88CE-BF122641BC43}" destId="{6A3F2077-4738-4CFE-A5EA-D3D3EE87847C}" srcOrd="8" destOrd="0" presId="urn:microsoft.com/office/officeart/2018/2/layout/IconVerticalSolidList"/>
    <dgm:cxn modelId="{B2F4843F-53EB-43CA-8D47-57000774DAB0}" type="presParOf" srcId="{6A3F2077-4738-4CFE-A5EA-D3D3EE87847C}" destId="{5CB11BAC-E9FF-4F51-8520-6A6D9CA1F372}" srcOrd="0" destOrd="0" presId="urn:microsoft.com/office/officeart/2018/2/layout/IconVerticalSolidList"/>
    <dgm:cxn modelId="{29E55424-D1DD-4637-B5E6-FAD2D82C1368}" type="presParOf" srcId="{6A3F2077-4738-4CFE-A5EA-D3D3EE87847C}" destId="{C4A40EAA-A9E7-441C-BB40-E88B6D09F376}" srcOrd="1" destOrd="0" presId="urn:microsoft.com/office/officeart/2018/2/layout/IconVerticalSolidList"/>
    <dgm:cxn modelId="{310361E6-04B8-4339-9958-8F7DE867EA30}" type="presParOf" srcId="{6A3F2077-4738-4CFE-A5EA-D3D3EE87847C}" destId="{F4D7BE63-3F03-48BC-B350-B3B001FAB42C}" srcOrd="2" destOrd="0" presId="urn:microsoft.com/office/officeart/2018/2/layout/IconVerticalSolidList"/>
    <dgm:cxn modelId="{F8796501-2C1B-45D4-B874-0D7C56329439}" type="presParOf" srcId="{6A3F2077-4738-4CFE-A5EA-D3D3EE87847C}" destId="{2FBC708E-2679-42CA-828F-C406BC08BC5D}" srcOrd="3" destOrd="0" presId="urn:microsoft.com/office/officeart/2018/2/layout/IconVerticalSolidList"/>
    <dgm:cxn modelId="{6A6608C1-EC0F-4E65-A859-1A4ABE02E525}" type="presParOf" srcId="{9D46D6C5-C427-47CB-88CE-BF122641BC43}" destId="{FD9D49D1-5732-4B97-A08B-BC3B6EA9D3E7}" srcOrd="9" destOrd="0" presId="urn:microsoft.com/office/officeart/2018/2/layout/IconVerticalSolidList"/>
    <dgm:cxn modelId="{94085CFD-65E2-48CA-8894-AAC0D686CCB5}" type="presParOf" srcId="{9D46D6C5-C427-47CB-88CE-BF122641BC43}" destId="{2160302C-BDB5-4F2A-83C4-960DEE72C6F9}" srcOrd="10" destOrd="0" presId="urn:microsoft.com/office/officeart/2018/2/layout/IconVerticalSolidList"/>
    <dgm:cxn modelId="{10EB9C80-6375-41D9-8F12-AD80CD233E33}" type="presParOf" srcId="{2160302C-BDB5-4F2A-83C4-960DEE72C6F9}" destId="{9767A8CC-4E43-4C9A-ABB6-CF43FF42BBEA}" srcOrd="0" destOrd="0" presId="urn:microsoft.com/office/officeart/2018/2/layout/IconVerticalSolidList"/>
    <dgm:cxn modelId="{02A8F704-8F26-42FF-86FE-FE080A19E481}" type="presParOf" srcId="{2160302C-BDB5-4F2A-83C4-960DEE72C6F9}" destId="{4373B1F6-9CAD-4396-B6C1-81EC556177D2}" srcOrd="1" destOrd="0" presId="urn:microsoft.com/office/officeart/2018/2/layout/IconVerticalSolidList"/>
    <dgm:cxn modelId="{E8E4E201-6FD4-43D1-8CC0-B39CE56B6CAD}" type="presParOf" srcId="{2160302C-BDB5-4F2A-83C4-960DEE72C6F9}" destId="{48B1567F-3395-47EB-ABE9-A8B173CC4106}" srcOrd="2" destOrd="0" presId="urn:microsoft.com/office/officeart/2018/2/layout/IconVerticalSolidList"/>
    <dgm:cxn modelId="{BB6763EC-0FA0-45EF-90B7-A6526E0F425B}" type="presParOf" srcId="{2160302C-BDB5-4F2A-83C4-960DEE72C6F9}" destId="{21795A8C-A5FC-4E8F-AF39-06424916CBDC}" srcOrd="3" destOrd="0" presId="urn:microsoft.com/office/officeart/2018/2/layout/IconVerticalSoli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66B3A87-0809-477B-BAE5-3E92D37E7ABB}"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B86F7527-FCFD-4A4F-8DDF-CE0D2B11A36F}">
      <dgm:prSet custT="1"/>
      <dgm:spPr/>
      <dgm:t>
        <a:bodyPr/>
        <a:lstStyle/>
        <a:p>
          <a:r>
            <a:rPr lang="en-US" sz="2400"/>
            <a:t>Helps </a:t>
          </a:r>
          <a:r>
            <a:rPr lang="en-US" sz="2400" b="1"/>
            <a:t>determine</a:t>
          </a:r>
          <a:r>
            <a:rPr lang="en-US" sz="2400"/>
            <a:t> </a:t>
          </a:r>
          <a:r>
            <a:rPr lang="en-US" sz="2400" b="0"/>
            <a:t>where</a:t>
          </a:r>
          <a:r>
            <a:rPr lang="en-US" sz="2400"/>
            <a:t> </a:t>
          </a:r>
          <a:r>
            <a:rPr lang="en-US" sz="2400" b="1"/>
            <a:t>break points </a:t>
          </a:r>
          <a:r>
            <a:rPr lang="en-US" sz="2400"/>
            <a:t>are needed</a:t>
          </a:r>
        </a:p>
      </dgm:t>
    </dgm:pt>
    <dgm:pt modelId="{368C3E1F-0C9B-486D-954F-55B10D54DE60}" type="parTrans" cxnId="{54D21CBC-CE41-4591-9E5C-11363A638A5E}">
      <dgm:prSet/>
      <dgm:spPr/>
      <dgm:t>
        <a:bodyPr/>
        <a:lstStyle/>
        <a:p>
          <a:endParaRPr lang="en-US" sz="2200"/>
        </a:p>
      </dgm:t>
    </dgm:pt>
    <dgm:pt modelId="{F00DD09C-93EF-499A-B94D-B0D2AC5A63D8}" type="sibTrans" cxnId="{54D21CBC-CE41-4591-9E5C-11363A638A5E}">
      <dgm:prSet/>
      <dgm:spPr/>
      <dgm:t>
        <a:bodyPr/>
        <a:lstStyle/>
        <a:p>
          <a:endParaRPr lang="en-US" sz="2200"/>
        </a:p>
      </dgm:t>
    </dgm:pt>
    <dgm:pt modelId="{6C2315C7-0088-4AC8-9E9E-CA265441BC18}">
      <dgm:prSet custT="1"/>
      <dgm:spPr/>
      <dgm:t>
        <a:bodyPr/>
        <a:lstStyle/>
        <a:p>
          <a:r>
            <a:rPr lang="en-US" sz="2400" b="1"/>
            <a:t>Write-Debug</a:t>
          </a:r>
        </a:p>
      </dgm:t>
    </dgm:pt>
    <dgm:pt modelId="{288CA50D-B4C9-42A3-9FA3-1D722E0588CE}" type="parTrans" cxnId="{696877FB-B924-4171-ABCE-86A8511D37AE}">
      <dgm:prSet/>
      <dgm:spPr/>
      <dgm:t>
        <a:bodyPr/>
        <a:lstStyle/>
        <a:p>
          <a:endParaRPr lang="en-US" sz="2200"/>
        </a:p>
      </dgm:t>
    </dgm:pt>
    <dgm:pt modelId="{7590DE5E-D97A-41CB-92E8-A3E82B823351}" type="sibTrans" cxnId="{696877FB-B924-4171-ABCE-86A8511D37AE}">
      <dgm:prSet/>
      <dgm:spPr/>
      <dgm:t>
        <a:bodyPr/>
        <a:lstStyle/>
        <a:p>
          <a:endParaRPr lang="en-US" sz="2200"/>
        </a:p>
      </dgm:t>
    </dgm:pt>
    <dgm:pt modelId="{7DA1E4D3-0574-4299-873E-7ECC972F00E4}">
      <dgm:prSet custT="1"/>
      <dgm:spPr/>
      <dgm:t>
        <a:bodyPr/>
        <a:lstStyle/>
        <a:p>
          <a:r>
            <a:rPr lang="en-US" sz="2200"/>
            <a:t>Defaults to </a:t>
          </a:r>
          <a:r>
            <a:rPr lang="en-US" sz="2200" b="1"/>
            <a:t>inquire</a:t>
          </a:r>
          <a:r>
            <a:rPr lang="en-US" sz="2200"/>
            <a:t> (prompt) when using </a:t>
          </a:r>
          <a:r>
            <a:rPr lang="en-US" sz="2200" b="1"/>
            <a:t>–Debug</a:t>
          </a:r>
        </a:p>
      </dgm:t>
    </dgm:pt>
    <dgm:pt modelId="{81B19071-FB6F-4B95-8007-7C99F1A93FE3}" type="parTrans" cxnId="{3FFE018E-40F2-4D46-9D76-E63AF96390E9}">
      <dgm:prSet/>
      <dgm:spPr/>
      <dgm:t>
        <a:bodyPr/>
        <a:lstStyle/>
        <a:p>
          <a:endParaRPr lang="en-US" sz="2200"/>
        </a:p>
      </dgm:t>
    </dgm:pt>
    <dgm:pt modelId="{7F7E9761-D305-463C-A733-89CE48E1BD1D}" type="sibTrans" cxnId="{3FFE018E-40F2-4D46-9D76-E63AF96390E9}">
      <dgm:prSet/>
      <dgm:spPr/>
      <dgm:t>
        <a:bodyPr/>
        <a:lstStyle/>
        <a:p>
          <a:endParaRPr lang="en-US" sz="2200"/>
        </a:p>
      </dgm:t>
    </dgm:pt>
    <dgm:pt modelId="{4BF3B6B1-0F6D-4A79-A59C-7E086A9830E3}">
      <dgm:prSet custT="1"/>
      <dgm:spPr/>
      <dgm:t>
        <a:bodyPr/>
        <a:lstStyle/>
        <a:p>
          <a:r>
            <a:rPr lang="en-US" sz="2200"/>
            <a:t>Controlled with </a:t>
          </a:r>
          <a:r>
            <a:rPr lang="en-US" sz="2200" b="1"/>
            <a:t>$</a:t>
          </a:r>
          <a:r>
            <a:rPr lang="en-US" sz="2200" b="1" err="1"/>
            <a:t>DebugPreference</a:t>
          </a:r>
          <a:endParaRPr lang="en-US" sz="2200" b="1"/>
        </a:p>
      </dgm:t>
    </dgm:pt>
    <dgm:pt modelId="{E27F1C18-5F1D-4868-AB44-436FCA298602}" type="parTrans" cxnId="{9822D876-A99E-425F-9B80-DE1750997DFE}">
      <dgm:prSet/>
      <dgm:spPr/>
      <dgm:t>
        <a:bodyPr/>
        <a:lstStyle/>
        <a:p>
          <a:endParaRPr lang="en-US" sz="2200"/>
        </a:p>
      </dgm:t>
    </dgm:pt>
    <dgm:pt modelId="{415960F4-664A-44C2-AF72-72DB1DEA9957}" type="sibTrans" cxnId="{9822D876-A99E-425F-9B80-DE1750997DFE}">
      <dgm:prSet/>
      <dgm:spPr/>
      <dgm:t>
        <a:bodyPr/>
        <a:lstStyle/>
        <a:p>
          <a:endParaRPr lang="en-US" sz="2200"/>
        </a:p>
      </dgm:t>
    </dgm:pt>
    <dgm:pt modelId="{CFC66B3B-210F-419B-B97B-F2CE9FDB9592}">
      <dgm:prSet custT="1"/>
      <dgm:spPr/>
      <dgm:t>
        <a:bodyPr/>
        <a:lstStyle/>
        <a:p>
          <a:r>
            <a:rPr lang="en-US" sz="2400" b="1"/>
            <a:t>Write-Verbose</a:t>
          </a:r>
        </a:p>
      </dgm:t>
    </dgm:pt>
    <dgm:pt modelId="{0440AC74-99D3-4773-A758-2415275D6A90}" type="parTrans" cxnId="{5E869BD3-1F4D-49BC-B327-6EF0C8AAEE2F}">
      <dgm:prSet/>
      <dgm:spPr/>
      <dgm:t>
        <a:bodyPr/>
        <a:lstStyle/>
        <a:p>
          <a:endParaRPr lang="en-US" sz="2200"/>
        </a:p>
      </dgm:t>
    </dgm:pt>
    <dgm:pt modelId="{D0D21015-0F33-45F4-B78A-2A5F1DCFC500}" type="sibTrans" cxnId="{5E869BD3-1F4D-49BC-B327-6EF0C8AAEE2F}">
      <dgm:prSet/>
      <dgm:spPr/>
      <dgm:t>
        <a:bodyPr/>
        <a:lstStyle/>
        <a:p>
          <a:endParaRPr lang="en-US" sz="2200"/>
        </a:p>
      </dgm:t>
    </dgm:pt>
    <dgm:pt modelId="{5E3501AA-76AC-468A-BA65-5279E8232D5B}">
      <dgm:prSet custT="1"/>
      <dgm:spPr/>
      <dgm:t>
        <a:bodyPr/>
        <a:lstStyle/>
        <a:p>
          <a:pPr>
            <a:buFont typeface="Arial" panose="020B0604020202020204" pitchFamily="34" charset="0"/>
            <a:buChar char="•"/>
          </a:pPr>
          <a:r>
            <a:rPr lang="en-US" sz="2200"/>
            <a:t>Defaults to </a:t>
          </a:r>
          <a:r>
            <a:rPr lang="en-US" sz="2200" b="1"/>
            <a:t>continue</a:t>
          </a:r>
          <a:r>
            <a:rPr lang="en-US" sz="2200"/>
            <a:t> (display) when using </a:t>
          </a:r>
          <a:r>
            <a:rPr lang="en-US" sz="2200" b="1"/>
            <a:t>–Verbose</a:t>
          </a:r>
        </a:p>
      </dgm:t>
    </dgm:pt>
    <dgm:pt modelId="{76E24B40-0D13-4A0F-9795-FF491A65CBA6}" type="parTrans" cxnId="{F9E9E13F-4D1E-42AB-BCC5-E6C3AAE8F329}">
      <dgm:prSet/>
      <dgm:spPr/>
      <dgm:t>
        <a:bodyPr/>
        <a:lstStyle/>
        <a:p>
          <a:endParaRPr lang="en-US" sz="2200"/>
        </a:p>
      </dgm:t>
    </dgm:pt>
    <dgm:pt modelId="{F5118EED-9A11-4569-BD42-61D3FD6EA7FB}" type="sibTrans" cxnId="{F9E9E13F-4D1E-42AB-BCC5-E6C3AAE8F329}">
      <dgm:prSet/>
      <dgm:spPr/>
      <dgm:t>
        <a:bodyPr/>
        <a:lstStyle/>
        <a:p>
          <a:endParaRPr lang="en-US" sz="2200"/>
        </a:p>
      </dgm:t>
    </dgm:pt>
    <dgm:pt modelId="{473D642B-C6CC-4CAB-BA23-5C8C43A1720F}">
      <dgm:prSet custT="1"/>
      <dgm:spPr/>
      <dgm:t>
        <a:bodyPr/>
        <a:lstStyle/>
        <a:p>
          <a:pPr>
            <a:buFont typeface="Arial" panose="020B0604020202020204" pitchFamily="34" charset="0"/>
            <a:buChar char="•"/>
          </a:pPr>
          <a:r>
            <a:rPr lang="en-US" sz="2200"/>
            <a:t>Controlled with </a:t>
          </a:r>
          <a:r>
            <a:rPr lang="en-US" sz="2200" b="1"/>
            <a:t>$</a:t>
          </a:r>
          <a:r>
            <a:rPr lang="en-US" sz="2200" b="1" err="1"/>
            <a:t>VerbosePreference</a:t>
          </a:r>
          <a:endParaRPr lang="en-US" sz="2200" b="1"/>
        </a:p>
      </dgm:t>
    </dgm:pt>
    <dgm:pt modelId="{91DFC6C9-A802-479D-8BA6-40C18625DFD0}" type="parTrans" cxnId="{F5B507B4-7F4A-4681-9F54-9C69A9831D9D}">
      <dgm:prSet/>
      <dgm:spPr/>
      <dgm:t>
        <a:bodyPr/>
        <a:lstStyle/>
        <a:p>
          <a:endParaRPr lang="en-US" sz="2200"/>
        </a:p>
      </dgm:t>
    </dgm:pt>
    <dgm:pt modelId="{234FD551-98F7-4569-B6A4-6D386A42F971}" type="sibTrans" cxnId="{F5B507B4-7F4A-4681-9F54-9C69A9831D9D}">
      <dgm:prSet/>
      <dgm:spPr/>
      <dgm:t>
        <a:bodyPr/>
        <a:lstStyle/>
        <a:p>
          <a:endParaRPr lang="en-US" sz="2200"/>
        </a:p>
      </dgm:t>
    </dgm:pt>
    <dgm:pt modelId="{116FC0C3-0D50-42F6-8DC7-677DD7F35EC2}">
      <dgm:prSet custT="1"/>
      <dgm:spPr/>
      <dgm:t>
        <a:bodyPr/>
        <a:lstStyle/>
        <a:p>
          <a:pPr>
            <a:buFont typeface="Arial" panose="020B0604020202020204" pitchFamily="34" charset="0"/>
            <a:buChar char="•"/>
          </a:pPr>
          <a:r>
            <a:rPr lang="en-US" sz="2200"/>
            <a:t>Information being written can usually double as </a:t>
          </a:r>
          <a:r>
            <a:rPr lang="en-US" sz="2200" b="1"/>
            <a:t>verbose logging </a:t>
          </a:r>
          <a:r>
            <a:rPr lang="en-US" sz="2200"/>
            <a:t>when done</a:t>
          </a:r>
        </a:p>
      </dgm:t>
    </dgm:pt>
    <dgm:pt modelId="{49AFD6E5-EAC2-461F-9ADD-28D66B05BF89}" type="parTrans" cxnId="{938FFB1D-BF05-4C94-921A-28AB3FE6A6D2}">
      <dgm:prSet/>
      <dgm:spPr/>
      <dgm:t>
        <a:bodyPr/>
        <a:lstStyle/>
        <a:p>
          <a:endParaRPr lang="en-US" sz="2200"/>
        </a:p>
      </dgm:t>
    </dgm:pt>
    <dgm:pt modelId="{C7416E16-B45B-4B6B-9F0D-DC334F52F1EB}" type="sibTrans" cxnId="{938FFB1D-BF05-4C94-921A-28AB3FE6A6D2}">
      <dgm:prSet/>
      <dgm:spPr/>
      <dgm:t>
        <a:bodyPr/>
        <a:lstStyle/>
        <a:p>
          <a:endParaRPr lang="en-US" sz="2200"/>
        </a:p>
      </dgm:t>
    </dgm:pt>
    <dgm:pt modelId="{B28E4FEE-F368-4238-B69F-246E5B44153C}">
      <dgm:prSet custT="1"/>
      <dgm:spPr/>
      <dgm:t>
        <a:bodyPr/>
        <a:lstStyle/>
        <a:p>
          <a:r>
            <a:rPr lang="en-US" sz="2200"/>
            <a:t>Convenient to </a:t>
          </a:r>
          <a:r>
            <a:rPr lang="en-US" sz="2200" b="1"/>
            <a:t>track down </a:t>
          </a:r>
          <a:r>
            <a:rPr lang="en-US" sz="2200"/>
            <a:t>code causing a script to </a:t>
          </a:r>
          <a:r>
            <a:rPr lang="en-US" sz="2200" b="1"/>
            <a:t>hang</a:t>
          </a:r>
          <a:endParaRPr lang="en-US" sz="2200"/>
        </a:p>
      </dgm:t>
    </dgm:pt>
    <dgm:pt modelId="{37F3D966-5B54-4CE1-9A33-5FA77F8F17D1}" type="parTrans" cxnId="{53297276-B452-473F-B9C4-75128A6370B5}">
      <dgm:prSet/>
      <dgm:spPr/>
      <dgm:t>
        <a:bodyPr/>
        <a:lstStyle/>
        <a:p>
          <a:endParaRPr lang="en-US" sz="2200"/>
        </a:p>
      </dgm:t>
    </dgm:pt>
    <dgm:pt modelId="{7ED5A088-7F3A-4AE6-B472-118DCB21F89F}" type="sibTrans" cxnId="{53297276-B452-473F-B9C4-75128A6370B5}">
      <dgm:prSet/>
      <dgm:spPr/>
      <dgm:t>
        <a:bodyPr/>
        <a:lstStyle/>
        <a:p>
          <a:endParaRPr lang="en-US" sz="2200"/>
        </a:p>
      </dgm:t>
    </dgm:pt>
    <dgm:pt modelId="{51195332-FA46-4032-B194-9582CC7A0F49}">
      <dgm:prSet custT="1"/>
      <dgm:spPr/>
      <dgm:t>
        <a:bodyPr/>
        <a:lstStyle/>
        <a:p>
          <a:r>
            <a:rPr lang="en-US" sz="2200" b="1"/>
            <a:t>Monitor</a:t>
          </a:r>
          <a:r>
            <a:rPr lang="en-US" sz="2200"/>
            <a:t> variable </a:t>
          </a:r>
          <a:r>
            <a:rPr lang="en-US" sz="2200" b="1"/>
            <a:t>values</a:t>
          </a:r>
          <a:r>
            <a:rPr lang="en-US" sz="2200"/>
            <a:t> without break points</a:t>
          </a:r>
        </a:p>
      </dgm:t>
    </dgm:pt>
    <dgm:pt modelId="{916187F6-FC85-48B3-99B0-EC475B50D4DA}" type="parTrans" cxnId="{02A8A6BC-2CA3-438D-A7F2-6640DD56DB5C}">
      <dgm:prSet/>
      <dgm:spPr/>
      <dgm:t>
        <a:bodyPr/>
        <a:lstStyle/>
        <a:p>
          <a:endParaRPr lang="en-US"/>
        </a:p>
      </dgm:t>
    </dgm:pt>
    <dgm:pt modelId="{5DCDB479-2D1C-47CE-8D07-B1FE8FA4E89B}" type="sibTrans" cxnId="{02A8A6BC-2CA3-438D-A7F2-6640DD56DB5C}">
      <dgm:prSet/>
      <dgm:spPr/>
      <dgm:t>
        <a:bodyPr/>
        <a:lstStyle/>
        <a:p>
          <a:endParaRPr lang="en-US"/>
        </a:p>
      </dgm:t>
    </dgm:pt>
    <dgm:pt modelId="{0965ACBC-4AB2-41E1-94FB-ABC9A8417ADB}" type="pres">
      <dgm:prSet presAssocID="{866B3A87-0809-477B-BAE5-3E92D37E7ABB}" presName="linear" presStyleCnt="0">
        <dgm:presLayoutVars>
          <dgm:animLvl val="lvl"/>
          <dgm:resizeHandles val="exact"/>
        </dgm:presLayoutVars>
      </dgm:prSet>
      <dgm:spPr/>
    </dgm:pt>
    <dgm:pt modelId="{8AF82C5C-6354-4D74-812A-8E7B194DE780}" type="pres">
      <dgm:prSet presAssocID="{B86F7527-FCFD-4A4F-8DDF-CE0D2B11A36F}" presName="parentText" presStyleLbl="node1" presStyleIdx="0" presStyleCnt="3">
        <dgm:presLayoutVars>
          <dgm:chMax val="0"/>
          <dgm:bulletEnabled val="1"/>
        </dgm:presLayoutVars>
      </dgm:prSet>
      <dgm:spPr/>
    </dgm:pt>
    <dgm:pt modelId="{9D0C6FFC-271F-4BBD-B55C-54F6B07F776E}" type="pres">
      <dgm:prSet presAssocID="{B86F7527-FCFD-4A4F-8DDF-CE0D2B11A36F}" presName="childText" presStyleLbl="revTx" presStyleIdx="0" presStyleCnt="3">
        <dgm:presLayoutVars>
          <dgm:bulletEnabled val="1"/>
        </dgm:presLayoutVars>
      </dgm:prSet>
      <dgm:spPr/>
    </dgm:pt>
    <dgm:pt modelId="{D6947EA9-E51E-47E4-AEFA-66912EFA8FFE}" type="pres">
      <dgm:prSet presAssocID="{6C2315C7-0088-4AC8-9E9E-CA265441BC18}" presName="parentText" presStyleLbl="node1" presStyleIdx="1" presStyleCnt="3">
        <dgm:presLayoutVars>
          <dgm:chMax val="0"/>
          <dgm:bulletEnabled val="1"/>
        </dgm:presLayoutVars>
      </dgm:prSet>
      <dgm:spPr/>
    </dgm:pt>
    <dgm:pt modelId="{D40AA95F-8932-439A-9812-B61259513FFE}" type="pres">
      <dgm:prSet presAssocID="{6C2315C7-0088-4AC8-9E9E-CA265441BC18}" presName="childText" presStyleLbl="revTx" presStyleIdx="1" presStyleCnt="3">
        <dgm:presLayoutVars>
          <dgm:bulletEnabled val="1"/>
        </dgm:presLayoutVars>
      </dgm:prSet>
      <dgm:spPr/>
    </dgm:pt>
    <dgm:pt modelId="{DEA1F633-DE19-4A08-AF82-BCC170D7C6AE}" type="pres">
      <dgm:prSet presAssocID="{CFC66B3B-210F-419B-B97B-F2CE9FDB9592}" presName="parentText" presStyleLbl="node1" presStyleIdx="2" presStyleCnt="3">
        <dgm:presLayoutVars>
          <dgm:chMax val="0"/>
          <dgm:bulletEnabled val="1"/>
        </dgm:presLayoutVars>
      </dgm:prSet>
      <dgm:spPr/>
    </dgm:pt>
    <dgm:pt modelId="{4C8EBE39-F1A5-4DD3-B58B-6B494DC28AFF}" type="pres">
      <dgm:prSet presAssocID="{CFC66B3B-210F-419B-B97B-F2CE9FDB9592}" presName="childText" presStyleLbl="revTx" presStyleIdx="2" presStyleCnt="3">
        <dgm:presLayoutVars>
          <dgm:bulletEnabled val="1"/>
        </dgm:presLayoutVars>
      </dgm:prSet>
      <dgm:spPr/>
    </dgm:pt>
  </dgm:ptLst>
  <dgm:cxnLst>
    <dgm:cxn modelId="{938FFB1D-BF05-4C94-921A-28AB3FE6A6D2}" srcId="{CFC66B3B-210F-419B-B97B-F2CE9FDB9592}" destId="{116FC0C3-0D50-42F6-8DC7-677DD7F35EC2}" srcOrd="2" destOrd="0" parTransId="{49AFD6E5-EAC2-461F-9ADD-28D66B05BF89}" sibTransId="{C7416E16-B45B-4B6B-9F0D-DC334F52F1EB}"/>
    <dgm:cxn modelId="{6A59D725-125B-4859-9EF4-1CFF851592EF}" type="presOf" srcId="{B28E4FEE-F368-4238-B69F-246E5B44153C}" destId="{9D0C6FFC-271F-4BBD-B55C-54F6B07F776E}" srcOrd="0" destOrd="0" presId="urn:microsoft.com/office/officeart/2005/8/layout/vList2"/>
    <dgm:cxn modelId="{E9B81B28-9447-42BA-AF8E-DA0FA68F19AD}" type="presOf" srcId="{6C2315C7-0088-4AC8-9E9E-CA265441BC18}" destId="{D6947EA9-E51E-47E4-AEFA-66912EFA8FFE}" srcOrd="0" destOrd="0" presId="urn:microsoft.com/office/officeart/2005/8/layout/vList2"/>
    <dgm:cxn modelId="{E211022A-78D9-4C3C-8F23-580EB14A4BAD}" type="presOf" srcId="{4BF3B6B1-0F6D-4A79-A59C-7E086A9830E3}" destId="{D40AA95F-8932-439A-9812-B61259513FFE}" srcOrd="0" destOrd="1" presId="urn:microsoft.com/office/officeart/2005/8/layout/vList2"/>
    <dgm:cxn modelId="{F9E9E13F-4D1E-42AB-BCC5-E6C3AAE8F329}" srcId="{CFC66B3B-210F-419B-B97B-F2CE9FDB9592}" destId="{5E3501AA-76AC-468A-BA65-5279E8232D5B}" srcOrd="0" destOrd="0" parTransId="{76E24B40-0D13-4A0F-9795-FF491A65CBA6}" sibTransId="{F5118EED-9A11-4569-BD42-61D3FD6EA7FB}"/>
    <dgm:cxn modelId="{9CD3DA75-3C7D-44F9-B73C-4E28F75642CF}" type="presOf" srcId="{B86F7527-FCFD-4A4F-8DDF-CE0D2B11A36F}" destId="{8AF82C5C-6354-4D74-812A-8E7B194DE780}" srcOrd="0" destOrd="0" presId="urn:microsoft.com/office/officeart/2005/8/layout/vList2"/>
    <dgm:cxn modelId="{53297276-B452-473F-B9C4-75128A6370B5}" srcId="{B86F7527-FCFD-4A4F-8DDF-CE0D2B11A36F}" destId="{B28E4FEE-F368-4238-B69F-246E5B44153C}" srcOrd="0" destOrd="0" parTransId="{37F3D966-5B54-4CE1-9A33-5FA77F8F17D1}" sibTransId="{7ED5A088-7F3A-4AE6-B472-118DCB21F89F}"/>
    <dgm:cxn modelId="{9822D876-A99E-425F-9B80-DE1750997DFE}" srcId="{6C2315C7-0088-4AC8-9E9E-CA265441BC18}" destId="{4BF3B6B1-0F6D-4A79-A59C-7E086A9830E3}" srcOrd="1" destOrd="0" parTransId="{E27F1C18-5F1D-4868-AB44-436FCA298602}" sibTransId="{415960F4-664A-44C2-AF72-72DB1DEA9957}"/>
    <dgm:cxn modelId="{6674F878-B678-4077-A335-D6EE0C467721}" type="presOf" srcId="{116FC0C3-0D50-42F6-8DC7-677DD7F35EC2}" destId="{4C8EBE39-F1A5-4DD3-B58B-6B494DC28AFF}" srcOrd="0" destOrd="2" presId="urn:microsoft.com/office/officeart/2005/8/layout/vList2"/>
    <dgm:cxn modelId="{3FFE018E-40F2-4D46-9D76-E63AF96390E9}" srcId="{6C2315C7-0088-4AC8-9E9E-CA265441BC18}" destId="{7DA1E4D3-0574-4299-873E-7ECC972F00E4}" srcOrd="0" destOrd="0" parTransId="{81B19071-FB6F-4B95-8007-7C99F1A93FE3}" sibTransId="{7F7E9761-D305-463C-A733-89CE48E1BD1D}"/>
    <dgm:cxn modelId="{904459AA-648B-42A2-98AC-47A500C6058C}" type="presOf" srcId="{866B3A87-0809-477B-BAE5-3E92D37E7ABB}" destId="{0965ACBC-4AB2-41E1-94FB-ABC9A8417ADB}" srcOrd="0" destOrd="0" presId="urn:microsoft.com/office/officeart/2005/8/layout/vList2"/>
    <dgm:cxn modelId="{F5B507B4-7F4A-4681-9F54-9C69A9831D9D}" srcId="{CFC66B3B-210F-419B-B97B-F2CE9FDB9592}" destId="{473D642B-C6CC-4CAB-BA23-5C8C43A1720F}" srcOrd="1" destOrd="0" parTransId="{91DFC6C9-A802-479D-8BA6-40C18625DFD0}" sibTransId="{234FD551-98F7-4569-B6A4-6D386A42F971}"/>
    <dgm:cxn modelId="{54D21CBC-CE41-4591-9E5C-11363A638A5E}" srcId="{866B3A87-0809-477B-BAE5-3E92D37E7ABB}" destId="{B86F7527-FCFD-4A4F-8DDF-CE0D2B11A36F}" srcOrd="0" destOrd="0" parTransId="{368C3E1F-0C9B-486D-954F-55B10D54DE60}" sibTransId="{F00DD09C-93EF-499A-B94D-B0D2AC5A63D8}"/>
    <dgm:cxn modelId="{02A8A6BC-2CA3-438D-A7F2-6640DD56DB5C}" srcId="{B86F7527-FCFD-4A4F-8DDF-CE0D2B11A36F}" destId="{51195332-FA46-4032-B194-9582CC7A0F49}" srcOrd="1" destOrd="0" parTransId="{916187F6-FC85-48B3-99B0-EC475B50D4DA}" sibTransId="{5DCDB479-2D1C-47CE-8D07-B1FE8FA4E89B}"/>
    <dgm:cxn modelId="{465953C3-12AB-4EE7-930D-4063548C1206}" type="presOf" srcId="{5E3501AA-76AC-468A-BA65-5279E8232D5B}" destId="{4C8EBE39-F1A5-4DD3-B58B-6B494DC28AFF}" srcOrd="0" destOrd="0" presId="urn:microsoft.com/office/officeart/2005/8/layout/vList2"/>
    <dgm:cxn modelId="{AA00B0C9-68CB-4D21-B61A-D061BB90F2EC}" type="presOf" srcId="{51195332-FA46-4032-B194-9582CC7A0F49}" destId="{9D0C6FFC-271F-4BBD-B55C-54F6B07F776E}" srcOrd="0" destOrd="1" presId="urn:microsoft.com/office/officeart/2005/8/layout/vList2"/>
    <dgm:cxn modelId="{5E869BD3-1F4D-49BC-B327-6EF0C8AAEE2F}" srcId="{866B3A87-0809-477B-BAE5-3E92D37E7ABB}" destId="{CFC66B3B-210F-419B-B97B-F2CE9FDB9592}" srcOrd="2" destOrd="0" parTransId="{0440AC74-99D3-4773-A758-2415275D6A90}" sibTransId="{D0D21015-0F33-45F4-B78A-2A5F1DCFC500}"/>
    <dgm:cxn modelId="{409AA5DC-6664-4B2C-93E8-67DC8EFCB679}" type="presOf" srcId="{CFC66B3B-210F-419B-B97B-F2CE9FDB9592}" destId="{DEA1F633-DE19-4A08-AF82-BCC170D7C6AE}" srcOrd="0" destOrd="0" presId="urn:microsoft.com/office/officeart/2005/8/layout/vList2"/>
    <dgm:cxn modelId="{61D9C4DC-9715-4281-B28E-323EB1D8796D}" type="presOf" srcId="{473D642B-C6CC-4CAB-BA23-5C8C43A1720F}" destId="{4C8EBE39-F1A5-4DD3-B58B-6B494DC28AFF}" srcOrd="0" destOrd="1" presId="urn:microsoft.com/office/officeart/2005/8/layout/vList2"/>
    <dgm:cxn modelId="{D2BEA2DE-9F9E-4F0C-A40B-CF8CF2E5E56B}" type="presOf" srcId="{7DA1E4D3-0574-4299-873E-7ECC972F00E4}" destId="{D40AA95F-8932-439A-9812-B61259513FFE}" srcOrd="0" destOrd="0" presId="urn:microsoft.com/office/officeart/2005/8/layout/vList2"/>
    <dgm:cxn modelId="{696877FB-B924-4171-ABCE-86A8511D37AE}" srcId="{866B3A87-0809-477B-BAE5-3E92D37E7ABB}" destId="{6C2315C7-0088-4AC8-9E9E-CA265441BC18}" srcOrd="1" destOrd="0" parTransId="{288CA50D-B4C9-42A3-9FA3-1D722E0588CE}" sibTransId="{7590DE5E-D97A-41CB-92E8-A3E82B823351}"/>
    <dgm:cxn modelId="{13E66D90-2457-48F8-ABD7-5709047B3FCC}" type="presParOf" srcId="{0965ACBC-4AB2-41E1-94FB-ABC9A8417ADB}" destId="{8AF82C5C-6354-4D74-812A-8E7B194DE780}" srcOrd="0" destOrd="0" presId="urn:microsoft.com/office/officeart/2005/8/layout/vList2"/>
    <dgm:cxn modelId="{64E30EEC-F59F-4F2F-8C61-0EDA0E118443}" type="presParOf" srcId="{0965ACBC-4AB2-41E1-94FB-ABC9A8417ADB}" destId="{9D0C6FFC-271F-4BBD-B55C-54F6B07F776E}" srcOrd="1" destOrd="0" presId="urn:microsoft.com/office/officeart/2005/8/layout/vList2"/>
    <dgm:cxn modelId="{05441BF0-A9AA-4ACD-A1ED-D5253741CEBC}" type="presParOf" srcId="{0965ACBC-4AB2-41E1-94FB-ABC9A8417ADB}" destId="{D6947EA9-E51E-47E4-AEFA-66912EFA8FFE}" srcOrd="2" destOrd="0" presId="urn:microsoft.com/office/officeart/2005/8/layout/vList2"/>
    <dgm:cxn modelId="{B9790441-71A4-41D5-B407-332922B15B86}" type="presParOf" srcId="{0965ACBC-4AB2-41E1-94FB-ABC9A8417ADB}" destId="{D40AA95F-8932-439A-9812-B61259513FFE}" srcOrd="3" destOrd="0" presId="urn:microsoft.com/office/officeart/2005/8/layout/vList2"/>
    <dgm:cxn modelId="{F1561736-C59B-461B-881D-A2C3FC12DF97}" type="presParOf" srcId="{0965ACBC-4AB2-41E1-94FB-ABC9A8417ADB}" destId="{DEA1F633-DE19-4A08-AF82-BCC170D7C6AE}" srcOrd="4" destOrd="0" presId="urn:microsoft.com/office/officeart/2005/8/layout/vList2"/>
    <dgm:cxn modelId="{21C9D815-81AA-4444-AFCA-3C758A3F7D09}" type="presParOf" srcId="{0965ACBC-4AB2-41E1-94FB-ABC9A8417ADB}" destId="{4C8EBE39-F1A5-4DD3-B58B-6B494DC28AFF}"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09320BC-C30C-4B81-8506-E75152E530E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6886E98-6C4E-4DC6-8FCC-929114562970}">
      <dgm:prSet custT="1"/>
      <dgm:spPr/>
      <dgm:t>
        <a:bodyPr/>
        <a:lstStyle/>
        <a:p>
          <a:r>
            <a:rPr lang="en-US" sz="2800" b="1"/>
            <a:t>Detect</a:t>
          </a:r>
          <a:r>
            <a:rPr lang="en-US" sz="2800"/>
            <a:t> if the debugger is </a:t>
          </a:r>
          <a:r>
            <a:rPr lang="en-US" sz="2800" b="1"/>
            <a:t>active</a:t>
          </a:r>
          <a:r>
            <a:rPr lang="en-US" sz="2800"/>
            <a:t> for debug specific output/actions</a:t>
          </a:r>
        </a:p>
      </dgm:t>
    </dgm:pt>
    <dgm:pt modelId="{B6A2CC32-A7C2-42D6-AFE8-FC13C1D7967B}" type="parTrans" cxnId="{C184F6DC-72E7-4898-9441-FF723B432595}">
      <dgm:prSet/>
      <dgm:spPr/>
      <dgm:t>
        <a:bodyPr/>
        <a:lstStyle/>
        <a:p>
          <a:endParaRPr lang="en-US" sz="2800"/>
        </a:p>
      </dgm:t>
    </dgm:pt>
    <dgm:pt modelId="{2FC48778-CF49-48DC-ACC8-1E35E5E832F9}" type="sibTrans" cxnId="{C184F6DC-72E7-4898-9441-FF723B432595}">
      <dgm:prSet/>
      <dgm:spPr/>
      <dgm:t>
        <a:bodyPr/>
        <a:lstStyle/>
        <a:p>
          <a:endParaRPr lang="en-US" sz="2800"/>
        </a:p>
      </dgm:t>
    </dgm:pt>
    <dgm:pt modelId="{E6C1801D-4379-4E2C-A6B2-4CACA7885737}">
      <dgm:prSet custT="1"/>
      <dgm:spPr/>
      <dgm:t>
        <a:bodyPr/>
        <a:lstStyle/>
        <a:p>
          <a:r>
            <a:rPr lang="en-US" sz="2800"/>
            <a:t>Investigate the </a:t>
          </a:r>
          <a:r>
            <a:rPr lang="en-US" sz="2800" b="1" err="1"/>
            <a:t>InvocationInfo</a:t>
          </a:r>
          <a:r>
            <a:rPr lang="en-US" sz="2800" b="0"/>
            <a:t> property</a:t>
          </a:r>
          <a:endParaRPr lang="en-US" sz="2800" b="1"/>
        </a:p>
      </dgm:t>
    </dgm:pt>
    <dgm:pt modelId="{98AE014C-98C2-49EC-A808-67F096BE4E1B}" type="parTrans" cxnId="{C98B8E6E-473D-467E-8CA2-176F41BAE7B9}">
      <dgm:prSet/>
      <dgm:spPr/>
      <dgm:t>
        <a:bodyPr/>
        <a:lstStyle/>
        <a:p>
          <a:endParaRPr lang="en-US" sz="2800"/>
        </a:p>
      </dgm:t>
    </dgm:pt>
    <dgm:pt modelId="{1432CA24-C814-4801-BAA3-FDD0EA798604}" type="sibTrans" cxnId="{C98B8E6E-473D-467E-8CA2-176F41BAE7B9}">
      <dgm:prSet/>
      <dgm:spPr/>
      <dgm:t>
        <a:bodyPr/>
        <a:lstStyle/>
        <a:p>
          <a:endParaRPr lang="en-US" sz="2800"/>
        </a:p>
      </dgm:t>
    </dgm:pt>
    <dgm:pt modelId="{01B4D1C4-5B02-40D4-8D72-F2D51CC624E2}" type="pres">
      <dgm:prSet presAssocID="{409320BC-C30C-4B81-8506-E75152E530E9}" presName="vert0" presStyleCnt="0">
        <dgm:presLayoutVars>
          <dgm:dir/>
          <dgm:animOne val="branch"/>
          <dgm:animLvl val="lvl"/>
        </dgm:presLayoutVars>
      </dgm:prSet>
      <dgm:spPr/>
    </dgm:pt>
    <dgm:pt modelId="{84B15592-74D6-4027-B239-62203FA57A0D}" type="pres">
      <dgm:prSet presAssocID="{16886E98-6C4E-4DC6-8FCC-929114562970}" presName="thickLine" presStyleLbl="alignNode1" presStyleIdx="0" presStyleCnt="2"/>
      <dgm:spPr/>
    </dgm:pt>
    <dgm:pt modelId="{3CB8B009-855D-4A1B-8441-0184520922BF}" type="pres">
      <dgm:prSet presAssocID="{16886E98-6C4E-4DC6-8FCC-929114562970}" presName="horz1" presStyleCnt="0"/>
      <dgm:spPr/>
    </dgm:pt>
    <dgm:pt modelId="{5CEF0DE8-79D9-452E-9004-871112C07CC3}" type="pres">
      <dgm:prSet presAssocID="{16886E98-6C4E-4DC6-8FCC-929114562970}" presName="tx1" presStyleLbl="revTx" presStyleIdx="0" presStyleCnt="2"/>
      <dgm:spPr/>
    </dgm:pt>
    <dgm:pt modelId="{E1284D0E-AC25-4906-874B-91BE02E1FACA}" type="pres">
      <dgm:prSet presAssocID="{16886E98-6C4E-4DC6-8FCC-929114562970}" presName="vert1" presStyleCnt="0"/>
      <dgm:spPr/>
    </dgm:pt>
    <dgm:pt modelId="{A3D36C2F-B64B-4521-BAAC-78760DC560E4}" type="pres">
      <dgm:prSet presAssocID="{E6C1801D-4379-4E2C-A6B2-4CACA7885737}" presName="thickLine" presStyleLbl="alignNode1" presStyleIdx="1" presStyleCnt="2"/>
      <dgm:spPr/>
    </dgm:pt>
    <dgm:pt modelId="{70140BA1-A56B-432A-8918-130402ACF5BA}" type="pres">
      <dgm:prSet presAssocID="{E6C1801D-4379-4E2C-A6B2-4CACA7885737}" presName="horz1" presStyleCnt="0"/>
      <dgm:spPr/>
    </dgm:pt>
    <dgm:pt modelId="{38414A46-D927-4B15-90DF-8DF99E1DE01B}" type="pres">
      <dgm:prSet presAssocID="{E6C1801D-4379-4E2C-A6B2-4CACA7885737}" presName="tx1" presStyleLbl="revTx" presStyleIdx="1" presStyleCnt="2"/>
      <dgm:spPr/>
    </dgm:pt>
    <dgm:pt modelId="{3353DAFF-05D3-4FCE-B5DC-C74120BA98D9}" type="pres">
      <dgm:prSet presAssocID="{E6C1801D-4379-4E2C-A6B2-4CACA7885737}" presName="vert1" presStyleCnt="0"/>
      <dgm:spPr/>
    </dgm:pt>
  </dgm:ptLst>
  <dgm:cxnLst>
    <dgm:cxn modelId="{FF715902-6112-447E-B140-3EA1054A055F}" type="presOf" srcId="{16886E98-6C4E-4DC6-8FCC-929114562970}" destId="{5CEF0DE8-79D9-452E-9004-871112C07CC3}" srcOrd="0" destOrd="0" presId="urn:microsoft.com/office/officeart/2008/layout/LinedList"/>
    <dgm:cxn modelId="{1459A708-A90D-4029-B87D-2C5EF514EA8A}" type="presOf" srcId="{E6C1801D-4379-4E2C-A6B2-4CACA7885737}" destId="{38414A46-D927-4B15-90DF-8DF99E1DE01B}" srcOrd="0" destOrd="0" presId="urn:microsoft.com/office/officeart/2008/layout/LinedList"/>
    <dgm:cxn modelId="{C98B8E6E-473D-467E-8CA2-176F41BAE7B9}" srcId="{409320BC-C30C-4B81-8506-E75152E530E9}" destId="{E6C1801D-4379-4E2C-A6B2-4CACA7885737}" srcOrd="1" destOrd="0" parTransId="{98AE014C-98C2-49EC-A808-67F096BE4E1B}" sibTransId="{1432CA24-C814-4801-BAA3-FDD0EA798604}"/>
    <dgm:cxn modelId="{C184F6DC-72E7-4898-9441-FF723B432595}" srcId="{409320BC-C30C-4B81-8506-E75152E530E9}" destId="{16886E98-6C4E-4DC6-8FCC-929114562970}" srcOrd="0" destOrd="0" parTransId="{B6A2CC32-A7C2-42D6-AFE8-FC13C1D7967B}" sibTransId="{2FC48778-CF49-48DC-ACC8-1E35E5E832F9}"/>
    <dgm:cxn modelId="{089FA0F0-9237-4082-BEBF-87C1428DDEA3}" type="presOf" srcId="{409320BC-C30C-4B81-8506-E75152E530E9}" destId="{01B4D1C4-5B02-40D4-8D72-F2D51CC624E2}" srcOrd="0" destOrd="0" presId="urn:microsoft.com/office/officeart/2008/layout/LinedList"/>
    <dgm:cxn modelId="{E434F673-7899-44E5-9290-B5CD14D20581}" type="presParOf" srcId="{01B4D1C4-5B02-40D4-8D72-F2D51CC624E2}" destId="{84B15592-74D6-4027-B239-62203FA57A0D}" srcOrd="0" destOrd="0" presId="urn:microsoft.com/office/officeart/2008/layout/LinedList"/>
    <dgm:cxn modelId="{9D5D6F33-E57B-4BC2-AEF5-C876703EA75C}" type="presParOf" srcId="{01B4D1C4-5B02-40D4-8D72-F2D51CC624E2}" destId="{3CB8B009-855D-4A1B-8441-0184520922BF}" srcOrd="1" destOrd="0" presId="urn:microsoft.com/office/officeart/2008/layout/LinedList"/>
    <dgm:cxn modelId="{10B24123-C1C8-455F-8B6F-5DD9952F9C69}" type="presParOf" srcId="{3CB8B009-855D-4A1B-8441-0184520922BF}" destId="{5CEF0DE8-79D9-452E-9004-871112C07CC3}" srcOrd="0" destOrd="0" presId="urn:microsoft.com/office/officeart/2008/layout/LinedList"/>
    <dgm:cxn modelId="{04385002-511C-45FB-8DBD-CC32D8D3723F}" type="presParOf" srcId="{3CB8B009-855D-4A1B-8441-0184520922BF}" destId="{E1284D0E-AC25-4906-874B-91BE02E1FACA}" srcOrd="1" destOrd="0" presId="urn:microsoft.com/office/officeart/2008/layout/LinedList"/>
    <dgm:cxn modelId="{873E6C4B-21C6-44E4-AFC6-71F29B33D549}" type="presParOf" srcId="{01B4D1C4-5B02-40D4-8D72-F2D51CC624E2}" destId="{A3D36C2F-B64B-4521-BAAC-78760DC560E4}" srcOrd="2" destOrd="0" presId="urn:microsoft.com/office/officeart/2008/layout/LinedList"/>
    <dgm:cxn modelId="{C9359BCD-E2B2-4DCE-B6E3-7A188C5CA7D1}" type="presParOf" srcId="{01B4D1C4-5B02-40D4-8D72-F2D51CC624E2}" destId="{70140BA1-A56B-432A-8918-130402ACF5BA}" srcOrd="3" destOrd="0" presId="urn:microsoft.com/office/officeart/2008/layout/LinedList"/>
    <dgm:cxn modelId="{66E2D968-2987-4C3A-94A1-D9A1EC4E2516}" type="presParOf" srcId="{70140BA1-A56B-432A-8918-130402ACF5BA}" destId="{38414A46-D927-4B15-90DF-8DF99E1DE01B}" srcOrd="0" destOrd="0" presId="urn:microsoft.com/office/officeart/2008/layout/LinedList"/>
    <dgm:cxn modelId="{A8324BAE-624C-48EF-8A2D-9C1F1F9D93B8}" type="presParOf" srcId="{70140BA1-A56B-432A-8918-130402ACF5BA}" destId="{3353DAFF-05D3-4FCE-B5DC-C74120BA98D9}"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E94A338-68DE-4B0C-971A-A8D49D3E51E6}" type="doc">
      <dgm:prSet loTypeId="urn:microsoft.com/office/officeart/2008/layout/VerticalCircleList" loCatId="list" qsTypeId="urn:microsoft.com/office/officeart/2005/8/quickstyle/simple1" qsCatId="simple" csTypeId="urn:microsoft.com/office/officeart/2005/8/colors/colorful1" csCatId="colorful" phldr="1"/>
      <dgm:spPr/>
      <dgm:t>
        <a:bodyPr/>
        <a:lstStyle/>
        <a:p>
          <a:endParaRPr lang="en-US"/>
        </a:p>
      </dgm:t>
    </dgm:pt>
    <dgm:pt modelId="{5E58CB16-4F89-407A-B3DE-C38085622C4C}">
      <dgm:prSet/>
      <dgm:spPr/>
      <dgm:t>
        <a:bodyPr/>
        <a:lstStyle/>
        <a:p>
          <a:r>
            <a:rPr lang="en-US"/>
            <a:t>Set-</a:t>
          </a:r>
          <a:r>
            <a:rPr lang="en-US" err="1"/>
            <a:t>StrictMode</a:t>
          </a:r>
          <a:endParaRPr lang="en-US"/>
        </a:p>
      </dgm:t>
    </dgm:pt>
    <dgm:pt modelId="{B515A74B-859E-4274-8D67-94E93CB8D556}" type="parTrans" cxnId="{24AFD891-E45B-43D3-A24B-4C2E05852E29}">
      <dgm:prSet/>
      <dgm:spPr/>
      <dgm:t>
        <a:bodyPr/>
        <a:lstStyle/>
        <a:p>
          <a:endParaRPr lang="en-US"/>
        </a:p>
      </dgm:t>
    </dgm:pt>
    <dgm:pt modelId="{F99C8DFF-425A-48CC-A0ED-62264A99311D}" type="sibTrans" cxnId="{24AFD891-E45B-43D3-A24B-4C2E05852E29}">
      <dgm:prSet/>
      <dgm:spPr/>
      <dgm:t>
        <a:bodyPr/>
        <a:lstStyle/>
        <a:p>
          <a:endParaRPr lang="en-US"/>
        </a:p>
      </dgm:t>
    </dgm:pt>
    <dgm:pt modelId="{EBA00260-3F38-4D4E-9AF5-07A255519EA8}">
      <dgm:prSet/>
      <dgm:spPr/>
      <dgm:t>
        <a:bodyPr/>
        <a:lstStyle/>
        <a:p>
          <a:r>
            <a:rPr lang="en-US"/>
            <a:t>Set-</a:t>
          </a:r>
          <a:r>
            <a:rPr lang="en-US" err="1"/>
            <a:t>PSDebug</a:t>
          </a:r>
          <a:endParaRPr lang="en-US"/>
        </a:p>
      </dgm:t>
    </dgm:pt>
    <dgm:pt modelId="{3F4975F9-D5D1-43F0-B660-558A333F9B4B}" type="parTrans" cxnId="{94EA3B74-8308-48EA-A78F-3BFFAD1ABC06}">
      <dgm:prSet/>
      <dgm:spPr/>
      <dgm:t>
        <a:bodyPr/>
        <a:lstStyle/>
        <a:p>
          <a:endParaRPr lang="en-US"/>
        </a:p>
      </dgm:t>
    </dgm:pt>
    <dgm:pt modelId="{022AB6E0-3A2A-4F4B-9240-9501E9ADB744}" type="sibTrans" cxnId="{94EA3B74-8308-48EA-A78F-3BFFAD1ABC06}">
      <dgm:prSet/>
      <dgm:spPr/>
      <dgm:t>
        <a:bodyPr/>
        <a:lstStyle/>
        <a:p>
          <a:endParaRPr lang="en-US"/>
        </a:p>
      </dgm:t>
    </dgm:pt>
    <dgm:pt modelId="{22732A0D-783A-448C-9B37-F43D97384118}">
      <dgm:prSet/>
      <dgm:spPr/>
      <dgm:t>
        <a:bodyPr/>
        <a:lstStyle/>
        <a:p>
          <a:r>
            <a:rPr lang="en-US"/>
            <a:t>Trace-Command</a:t>
          </a:r>
        </a:p>
      </dgm:t>
    </dgm:pt>
    <dgm:pt modelId="{036BE163-22AB-4CC3-975E-E76974112C74}" type="parTrans" cxnId="{3152AF23-3B64-4307-A8FA-50989B1897B2}">
      <dgm:prSet/>
      <dgm:spPr/>
      <dgm:t>
        <a:bodyPr/>
        <a:lstStyle/>
        <a:p>
          <a:endParaRPr lang="en-US"/>
        </a:p>
      </dgm:t>
    </dgm:pt>
    <dgm:pt modelId="{E8546748-4247-456A-8953-B376048A864C}" type="sibTrans" cxnId="{3152AF23-3B64-4307-A8FA-50989B1897B2}">
      <dgm:prSet/>
      <dgm:spPr/>
      <dgm:t>
        <a:bodyPr/>
        <a:lstStyle/>
        <a:p>
          <a:endParaRPr lang="en-US"/>
        </a:p>
      </dgm:t>
    </dgm:pt>
    <dgm:pt modelId="{51F53401-2341-4C1B-962C-397CBD6495C1}" type="pres">
      <dgm:prSet presAssocID="{7E94A338-68DE-4B0C-971A-A8D49D3E51E6}" presName="Name0" presStyleCnt="0">
        <dgm:presLayoutVars>
          <dgm:dir/>
        </dgm:presLayoutVars>
      </dgm:prSet>
      <dgm:spPr/>
    </dgm:pt>
    <dgm:pt modelId="{6EFE967F-F9F8-44C1-961B-F43532B9CFAF}" type="pres">
      <dgm:prSet presAssocID="{5E58CB16-4F89-407A-B3DE-C38085622C4C}" presName="noChildren" presStyleCnt="0"/>
      <dgm:spPr/>
    </dgm:pt>
    <dgm:pt modelId="{201724F5-A820-4A19-8B2B-00DDA4D306D3}" type="pres">
      <dgm:prSet presAssocID="{5E58CB16-4F89-407A-B3DE-C38085622C4C}" presName="gap" presStyleCnt="0"/>
      <dgm:spPr/>
    </dgm:pt>
    <dgm:pt modelId="{2785B215-D250-4773-8573-ABB7826818E3}" type="pres">
      <dgm:prSet presAssocID="{5E58CB16-4F89-407A-B3DE-C38085622C4C}" presName="medCircle2" presStyleLbl="vennNode1" presStyleIdx="0" presStyleCnt="3"/>
      <dgm:spPr/>
    </dgm:pt>
    <dgm:pt modelId="{AF26F12B-9260-4F0B-9C18-03660D37D715}" type="pres">
      <dgm:prSet presAssocID="{5E58CB16-4F89-407A-B3DE-C38085622C4C}" presName="txLvlOnly1" presStyleLbl="revTx" presStyleIdx="0" presStyleCnt="3"/>
      <dgm:spPr/>
    </dgm:pt>
    <dgm:pt modelId="{C38C65AA-5299-4736-80D6-C3A6FAA2C021}" type="pres">
      <dgm:prSet presAssocID="{22732A0D-783A-448C-9B37-F43D97384118}" presName="noChildren" presStyleCnt="0"/>
      <dgm:spPr/>
    </dgm:pt>
    <dgm:pt modelId="{F806FE39-A5CF-4D70-B11B-C9D842BBFC2C}" type="pres">
      <dgm:prSet presAssocID="{22732A0D-783A-448C-9B37-F43D97384118}" presName="gap" presStyleCnt="0"/>
      <dgm:spPr/>
    </dgm:pt>
    <dgm:pt modelId="{BDCA2596-8C3F-4EB4-941B-76B014722D34}" type="pres">
      <dgm:prSet presAssocID="{22732A0D-783A-448C-9B37-F43D97384118}" presName="medCircle2" presStyleLbl="vennNode1" presStyleIdx="1" presStyleCnt="3"/>
      <dgm:spPr/>
    </dgm:pt>
    <dgm:pt modelId="{142740DC-8D24-4E23-8CBD-93C36EAFB6F3}" type="pres">
      <dgm:prSet presAssocID="{22732A0D-783A-448C-9B37-F43D97384118}" presName="txLvlOnly1" presStyleLbl="revTx" presStyleIdx="1" presStyleCnt="3"/>
      <dgm:spPr/>
    </dgm:pt>
    <dgm:pt modelId="{AEA112F6-8E9B-4119-B974-5916EE3FBEE6}" type="pres">
      <dgm:prSet presAssocID="{EBA00260-3F38-4D4E-9AF5-07A255519EA8}" presName="noChildren" presStyleCnt="0"/>
      <dgm:spPr/>
    </dgm:pt>
    <dgm:pt modelId="{AEF1F528-0D94-4793-8718-AE227831C88E}" type="pres">
      <dgm:prSet presAssocID="{EBA00260-3F38-4D4E-9AF5-07A255519EA8}" presName="gap" presStyleCnt="0"/>
      <dgm:spPr/>
    </dgm:pt>
    <dgm:pt modelId="{0B9E10D1-2D9B-4188-B6C5-9B771544C1B4}" type="pres">
      <dgm:prSet presAssocID="{EBA00260-3F38-4D4E-9AF5-07A255519EA8}" presName="medCircle2" presStyleLbl="vennNode1" presStyleIdx="2" presStyleCnt="3"/>
      <dgm:spPr/>
    </dgm:pt>
    <dgm:pt modelId="{DCA24B91-C293-4A26-A06A-04D5EE98F09B}" type="pres">
      <dgm:prSet presAssocID="{EBA00260-3F38-4D4E-9AF5-07A255519EA8}" presName="txLvlOnly1" presStyleLbl="revTx" presStyleIdx="2" presStyleCnt="3"/>
      <dgm:spPr/>
    </dgm:pt>
  </dgm:ptLst>
  <dgm:cxnLst>
    <dgm:cxn modelId="{3152AF23-3B64-4307-A8FA-50989B1897B2}" srcId="{7E94A338-68DE-4B0C-971A-A8D49D3E51E6}" destId="{22732A0D-783A-448C-9B37-F43D97384118}" srcOrd="1" destOrd="0" parTransId="{036BE163-22AB-4CC3-975E-E76974112C74}" sibTransId="{E8546748-4247-456A-8953-B376048A864C}"/>
    <dgm:cxn modelId="{0042D371-A828-4C35-990A-D33423B853D2}" type="presOf" srcId="{22732A0D-783A-448C-9B37-F43D97384118}" destId="{142740DC-8D24-4E23-8CBD-93C36EAFB6F3}" srcOrd="0" destOrd="0" presId="urn:microsoft.com/office/officeart/2008/layout/VerticalCircleList"/>
    <dgm:cxn modelId="{94EA3B74-8308-48EA-A78F-3BFFAD1ABC06}" srcId="{7E94A338-68DE-4B0C-971A-A8D49D3E51E6}" destId="{EBA00260-3F38-4D4E-9AF5-07A255519EA8}" srcOrd="2" destOrd="0" parTransId="{3F4975F9-D5D1-43F0-B660-558A333F9B4B}" sibTransId="{022AB6E0-3A2A-4F4B-9240-9501E9ADB744}"/>
    <dgm:cxn modelId="{24AFD891-E45B-43D3-A24B-4C2E05852E29}" srcId="{7E94A338-68DE-4B0C-971A-A8D49D3E51E6}" destId="{5E58CB16-4F89-407A-B3DE-C38085622C4C}" srcOrd="0" destOrd="0" parTransId="{B515A74B-859E-4274-8D67-94E93CB8D556}" sibTransId="{F99C8DFF-425A-48CC-A0ED-62264A99311D}"/>
    <dgm:cxn modelId="{F742FD98-0A60-4796-8CA5-D2EE83972FF1}" type="presOf" srcId="{5E58CB16-4F89-407A-B3DE-C38085622C4C}" destId="{AF26F12B-9260-4F0B-9C18-03660D37D715}" srcOrd="0" destOrd="0" presId="urn:microsoft.com/office/officeart/2008/layout/VerticalCircleList"/>
    <dgm:cxn modelId="{94D37499-E053-434F-8C0B-F4958D947674}" type="presOf" srcId="{7E94A338-68DE-4B0C-971A-A8D49D3E51E6}" destId="{51F53401-2341-4C1B-962C-397CBD6495C1}" srcOrd="0" destOrd="0" presId="urn:microsoft.com/office/officeart/2008/layout/VerticalCircleList"/>
    <dgm:cxn modelId="{0AD243F5-A6A1-4426-9857-75CE29226DB3}" type="presOf" srcId="{EBA00260-3F38-4D4E-9AF5-07A255519EA8}" destId="{DCA24B91-C293-4A26-A06A-04D5EE98F09B}" srcOrd="0" destOrd="0" presId="urn:microsoft.com/office/officeart/2008/layout/VerticalCircleList"/>
    <dgm:cxn modelId="{78BB3D1C-9A5B-4AD4-A3B3-AE9A4352C695}" type="presParOf" srcId="{51F53401-2341-4C1B-962C-397CBD6495C1}" destId="{6EFE967F-F9F8-44C1-961B-F43532B9CFAF}" srcOrd="0" destOrd="0" presId="urn:microsoft.com/office/officeart/2008/layout/VerticalCircleList"/>
    <dgm:cxn modelId="{521D47F0-C42A-4B39-A49C-030E72359B98}" type="presParOf" srcId="{6EFE967F-F9F8-44C1-961B-F43532B9CFAF}" destId="{201724F5-A820-4A19-8B2B-00DDA4D306D3}" srcOrd="0" destOrd="0" presId="urn:microsoft.com/office/officeart/2008/layout/VerticalCircleList"/>
    <dgm:cxn modelId="{31D0F3A1-5B32-4F5D-A91C-50491C644D06}" type="presParOf" srcId="{6EFE967F-F9F8-44C1-961B-F43532B9CFAF}" destId="{2785B215-D250-4773-8573-ABB7826818E3}" srcOrd="1" destOrd="0" presId="urn:microsoft.com/office/officeart/2008/layout/VerticalCircleList"/>
    <dgm:cxn modelId="{1BD010F3-51AB-4A42-A23C-DE9E5809062A}" type="presParOf" srcId="{6EFE967F-F9F8-44C1-961B-F43532B9CFAF}" destId="{AF26F12B-9260-4F0B-9C18-03660D37D715}" srcOrd="2" destOrd="0" presId="urn:microsoft.com/office/officeart/2008/layout/VerticalCircleList"/>
    <dgm:cxn modelId="{9AF0FAF2-2627-404C-9860-1C96A3CD7634}" type="presParOf" srcId="{51F53401-2341-4C1B-962C-397CBD6495C1}" destId="{C38C65AA-5299-4736-80D6-C3A6FAA2C021}" srcOrd="1" destOrd="0" presId="urn:microsoft.com/office/officeart/2008/layout/VerticalCircleList"/>
    <dgm:cxn modelId="{F4930948-7D20-41E4-B65E-4807FCD31FD4}" type="presParOf" srcId="{C38C65AA-5299-4736-80D6-C3A6FAA2C021}" destId="{F806FE39-A5CF-4D70-B11B-C9D842BBFC2C}" srcOrd="0" destOrd="0" presId="urn:microsoft.com/office/officeart/2008/layout/VerticalCircleList"/>
    <dgm:cxn modelId="{EEEA856D-29B1-457D-A931-42CD741F33DF}" type="presParOf" srcId="{C38C65AA-5299-4736-80D6-C3A6FAA2C021}" destId="{BDCA2596-8C3F-4EB4-941B-76B014722D34}" srcOrd="1" destOrd="0" presId="urn:microsoft.com/office/officeart/2008/layout/VerticalCircleList"/>
    <dgm:cxn modelId="{B0FEF2AA-EE35-425D-B894-7433DD095298}" type="presParOf" srcId="{C38C65AA-5299-4736-80D6-C3A6FAA2C021}" destId="{142740DC-8D24-4E23-8CBD-93C36EAFB6F3}" srcOrd="2" destOrd="0" presId="urn:microsoft.com/office/officeart/2008/layout/VerticalCircleList"/>
    <dgm:cxn modelId="{23EA1FE9-AB74-4D4E-84C4-35C5B3398056}" type="presParOf" srcId="{51F53401-2341-4C1B-962C-397CBD6495C1}" destId="{AEA112F6-8E9B-4119-B974-5916EE3FBEE6}" srcOrd="2" destOrd="0" presId="urn:microsoft.com/office/officeart/2008/layout/VerticalCircleList"/>
    <dgm:cxn modelId="{4B1898C9-4B77-403B-9C2D-AC9936612F8A}" type="presParOf" srcId="{AEA112F6-8E9B-4119-B974-5916EE3FBEE6}" destId="{AEF1F528-0D94-4793-8718-AE227831C88E}" srcOrd="0" destOrd="0" presId="urn:microsoft.com/office/officeart/2008/layout/VerticalCircleList"/>
    <dgm:cxn modelId="{E7A7F93E-1316-4B09-90CC-3CFD29031EF1}" type="presParOf" srcId="{AEA112F6-8E9B-4119-B974-5916EE3FBEE6}" destId="{0B9E10D1-2D9B-4188-B6C5-9B771544C1B4}" srcOrd="1" destOrd="0" presId="urn:microsoft.com/office/officeart/2008/layout/VerticalCircleList"/>
    <dgm:cxn modelId="{4B47F999-69BC-42FC-BEB7-BAE7C322AAB2}" type="presParOf" srcId="{AEA112F6-8E9B-4119-B974-5916EE3FBEE6}" destId="{DCA24B91-C293-4A26-A06A-04D5EE98F09B}" srcOrd="2" destOrd="0" presId="urn:microsoft.com/office/officeart/2008/layout/VerticalCircl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7E94A338-68DE-4B0C-971A-A8D49D3E51E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5E58CB16-4F89-407A-B3DE-C38085622C4C}">
      <dgm:prSet/>
      <dgm:spPr/>
      <dgm:t>
        <a:bodyPr/>
        <a:lstStyle/>
        <a:p>
          <a:r>
            <a:rPr lang="en-US"/>
            <a:t>Generate </a:t>
          </a:r>
          <a:r>
            <a:rPr lang="en-US" b="0"/>
            <a:t>terminating</a:t>
          </a:r>
          <a:r>
            <a:rPr lang="en-US"/>
            <a:t> </a:t>
          </a:r>
          <a:r>
            <a:rPr lang="en-US" b="0"/>
            <a:t>errors</a:t>
          </a:r>
          <a:r>
            <a:rPr lang="en-US"/>
            <a:t> based on best practices</a:t>
          </a:r>
        </a:p>
      </dgm:t>
    </dgm:pt>
    <dgm:pt modelId="{B515A74B-859E-4274-8D67-94E93CB8D556}" type="parTrans" cxnId="{24AFD891-E45B-43D3-A24B-4C2E05852E29}">
      <dgm:prSet/>
      <dgm:spPr/>
      <dgm:t>
        <a:bodyPr/>
        <a:lstStyle/>
        <a:p>
          <a:endParaRPr lang="en-US"/>
        </a:p>
      </dgm:t>
    </dgm:pt>
    <dgm:pt modelId="{F99C8DFF-425A-48CC-A0ED-62264A99311D}" type="sibTrans" cxnId="{24AFD891-E45B-43D3-A24B-4C2E05852E29}">
      <dgm:prSet/>
      <dgm:spPr/>
      <dgm:t>
        <a:bodyPr/>
        <a:lstStyle/>
        <a:p>
          <a:endParaRPr lang="en-US"/>
        </a:p>
      </dgm:t>
    </dgm:pt>
    <dgm:pt modelId="{DBAA346C-5359-48D7-BBF4-3749D24B8891}">
      <dgm:prSet/>
      <dgm:spPr>
        <a:solidFill>
          <a:schemeClr val="accent3">
            <a:lumMod val="75000"/>
          </a:schemeClr>
        </a:solidFill>
      </dgm:spPr>
      <dgm:t>
        <a:bodyPr/>
        <a:lstStyle/>
        <a:p>
          <a:r>
            <a:rPr lang="en-US" b="0"/>
            <a:t>Version 1+</a:t>
          </a:r>
        </a:p>
      </dgm:t>
    </dgm:pt>
    <dgm:pt modelId="{6EEFC7FC-FF04-4A08-B714-95D48E90187A}" type="parTrans" cxnId="{E85CD430-7C64-4DD6-A684-CE1AA4E10FE9}">
      <dgm:prSet/>
      <dgm:spPr/>
      <dgm:t>
        <a:bodyPr/>
        <a:lstStyle/>
        <a:p>
          <a:endParaRPr lang="en-US"/>
        </a:p>
      </dgm:t>
    </dgm:pt>
    <dgm:pt modelId="{510174A5-3A4A-44A9-854C-3F03A7F9CB72}" type="sibTrans" cxnId="{E85CD430-7C64-4DD6-A684-CE1AA4E10FE9}">
      <dgm:prSet/>
      <dgm:spPr/>
      <dgm:t>
        <a:bodyPr/>
        <a:lstStyle/>
        <a:p>
          <a:endParaRPr lang="en-US"/>
        </a:p>
      </dgm:t>
    </dgm:pt>
    <dgm:pt modelId="{8D163D8B-DB7F-41EE-95D4-EF6A8720AD03}">
      <dgm:prSet/>
      <dgm:spPr>
        <a:solidFill>
          <a:schemeClr val="accent4">
            <a:lumMod val="75000"/>
          </a:schemeClr>
        </a:solidFill>
      </dgm:spPr>
      <dgm:t>
        <a:bodyPr/>
        <a:lstStyle/>
        <a:p>
          <a:r>
            <a:rPr lang="en-US" b="0"/>
            <a:t>Version 2+</a:t>
          </a:r>
        </a:p>
      </dgm:t>
    </dgm:pt>
    <dgm:pt modelId="{20A53224-B201-421D-AC0E-E4F85AFEC84E}" type="parTrans" cxnId="{3E9C8EAA-31B9-4114-AF2C-97DE555E7A51}">
      <dgm:prSet/>
      <dgm:spPr/>
      <dgm:t>
        <a:bodyPr/>
        <a:lstStyle/>
        <a:p>
          <a:endParaRPr lang="en-US"/>
        </a:p>
      </dgm:t>
    </dgm:pt>
    <dgm:pt modelId="{421CA4B2-999A-4099-B506-A13F976902EB}" type="sibTrans" cxnId="{3E9C8EAA-31B9-4114-AF2C-97DE555E7A51}">
      <dgm:prSet/>
      <dgm:spPr/>
      <dgm:t>
        <a:bodyPr/>
        <a:lstStyle/>
        <a:p>
          <a:endParaRPr lang="en-US"/>
        </a:p>
      </dgm:t>
    </dgm:pt>
    <dgm:pt modelId="{19A988A6-1044-404D-AB02-86AE7019C1EF}">
      <dgm:prSet/>
      <dgm:spPr/>
      <dgm:t>
        <a:bodyPr/>
        <a:lstStyle/>
        <a:p>
          <a:r>
            <a:rPr lang="en-US" b="1"/>
            <a:t>Function</a:t>
          </a:r>
          <a:r>
            <a:rPr lang="en-US"/>
            <a:t> calls that use the </a:t>
          </a:r>
          <a:r>
            <a:rPr lang="en-US" b="1"/>
            <a:t>syntax</a:t>
          </a:r>
          <a:r>
            <a:rPr lang="en-US"/>
            <a:t> for calling methods.</a:t>
          </a:r>
        </a:p>
      </dgm:t>
    </dgm:pt>
    <dgm:pt modelId="{96B0CB01-8C09-4DA6-887C-BD16C7B903BE}" type="parTrans" cxnId="{90B66DCA-3450-44F3-9EE7-23608BB4DD2D}">
      <dgm:prSet/>
      <dgm:spPr/>
      <dgm:t>
        <a:bodyPr/>
        <a:lstStyle/>
        <a:p>
          <a:endParaRPr lang="en-US"/>
        </a:p>
      </dgm:t>
    </dgm:pt>
    <dgm:pt modelId="{9E32753C-7294-4F3E-B79D-9B195F8A0F49}" type="sibTrans" cxnId="{90B66DCA-3450-44F3-9EE7-23608BB4DD2D}">
      <dgm:prSet/>
      <dgm:spPr/>
      <dgm:t>
        <a:bodyPr/>
        <a:lstStyle/>
        <a:p>
          <a:endParaRPr lang="en-US"/>
        </a:p>
      </dgm:t>
    </dgm:pt>
    <dgm:pt modelId="{3BDCB6F4-087B-4C32-A4E2-C263562A097B}">
      <dgm:prSet/>
      <dgm:spPr>
        <a:solidFill>
          <a:schemeClr val="accent5">
            <a:lumMod val="50000"/>
          </a:schemeClr>
        </a:solidFill>
      </dgm:spPr>
      <dgm:t>
        <a:bodyPr/>
        <a:lstStyle/>
        <a:p>
          <a:r>
            <a:rPr lang="en-US" b="0"/>
            <a:t>Version 3 &amp; Latest</a:t>
          </a:r>
        </a:p>
      </dgm:t>
    </dgm:pt>
    <dgm:pt modelId="{F3927937-6195-463B-A5A0-825FC3A98265}" type="parTrans" cxnId="{53C1CCAF-4C0F-4B17-AE2C-FD495B8C14DE}">
      <dgm:prSet/>
      <dgm:spPr/>
      <dgm:t>
        <a:bodyPr/>
        <a:lstStyle/>
        <a:p>
          <a:endParaRPr lang="en-US"/>
        </a:p>
      </dgm:t>
    </dgm:pt>
    <dgm:pt modelId="{23053E50-A975-4919-A52E-DF6D0E0C1EEF}" type="sibTrans" cxnId="{53C1CCAF-4C0F-4B17-AE2C-FD495B8C14DE}">
      <dgm:prSet/>
      <dgm:spPr/>
      <dgm:t>
        <a:bodyPr/>
        <a:lstStyle/>
        <a:p>
          <a:endParaRPr lang="en-US"/>
        </a:p>
      </dgm:t>
    </dgm:pt>
    <dgm:pt modelId="{6964E337-CB6C-4208-A4FE-D438A96671AE}">
      <dgm:prSet/>
      <dgm:spPr/>
      <dgm:t>
        <a:bodyPr/>
        <a:lstStyle/>
        <a:p>
          <a:r>
            <a:rPr lang="en-US"/>
            <a:t>References to </a:t>
          </a:r>
          <a:r>
            <a:rPr lang="en-US" b="1"/>
            <a:t>uninitialized variables</a:t>
          </a:r>
          <a:endParaRPr lang="en-US"/>
        </a:p>
      </dgm:t>
    </dgm:pt>
    <dgm:pt modelId="{F7AF920C-9762-4B73-A5DA-4C4C29506F4E}" type="parTrans" cxnId="{0BDC1BA7-1846-4744-9B3D-804DFA0E6A4E}">
      <dgm:prSet/>
      <dgm:spPr/>
      <dgm:t>
        <a:bodyPr/>
        <a:lstStyle/>
        <a:p>
          <a:endParaRPr lang="en-US"/>
        </a:p>
      </dgm:t>
    </dgm:pt>
    <dgm:pt modelId="{3A879E9B-C198-415B-BC0E-02B3CD0AC345}" type="sibTrans" cxnId="{0BDC1BA7-1846-4744-9B3D-804DFA0E6A4E}">
      <dgm:prSet/>
      <dgm:spPr/>
      <dgm:t>
        <a:bodyPr/>
        <a:lstStyle/>
        <a:p>
          <a:endParaRPr lang="en-US"/>
        </a:p>
      </dgm:t>
    </dgm:pt>
    <dgm:pt modelId="{D9B882EB-907F-4DCB-AA22-3B99643C603C}">
      <dgm:prSet/>
      <dgm:spPr/>
      <dgm:t>
        <a:bodyPr/>
        <a:lstStyle/>
        <a:p>
          <a:r>
            <a:rPr lang="en-US"/>
            <a:t>References to </a:t>
          </a:r>
          <a:r>
            <a:rPr lang="en-US" b="1"/>
            <a:t>non-existent properties </a:t>
          </a:r>
          <a:r>
            <a:rPr lang="en-US"/>
            <a:t>of an object.</a:t>
          </a:r>
        </a:p>
      </dgm:t>
    </dgm:pt>
    <dgm:pt modelId="{1AE0C39E-F2BE-481C-AA74-0118271EB927}" type="parTrans" cxnId="{00EB6C3E-17FE-4900-8FAA-1A7AA6DBA8EA}">
      <dgm:prSet/>
      <dgm:spPr/>
      <dgm:t>
        <a:bodyPr/>
        <a:lstStyle/>
        <a:p>
          <a:endParaRPr lang="en-US"/>
        </a:p>
      </dgm:t>
    </dgm:pt>
    <dgm:pt modelId="{F28810E6-3BCA-4EE7-B66B-B1A080910D93}" type="sibTrans" cxnId="{00EB6C3E-17FE-4900-8FAA-1A7AA6DBA8EA}">
      <dgm:prSet/>
      <dgm:spPr/>
      <dgm:t>
        <a:bodyPr/>
        <a:lstStyle/>
        <a:p>
          <a:endParaRPr lang="en-US"/>
        </a:p>
      </dgm:t>
    </dgm:pt>
    <dgm:pt modelId="{162B2FF9-5F72-4A6E-8435-A0573282C186}">
      <dgm:prSet/>
      <dgm:spPr/>
      <dgm:t>
        <a:bodyPr/>
        <a:lstStyle/>
        <a:p>
          <a:r>
            <a:rPr lang="en-US"/>
            <a:t>Access </a:t>
          </a:r>
          <a:r>
            <a:rPr lang="en-US" b="0"/>
            <a:t>out of bounds </a:t>
          </a:r>
          <a:r>
            <a:rPr lang="en-US" b="1"/>
            <a:t>array indexes</a:t>
          </a:r>
          <a:endParaRPr lang="en-US"/>
        </a:p>
      </dgm:t>
    </dgm:pt>
    <dgm:pt modelId="{5C31E9F6-1E13-4FB6-92DA-0AFEB5EA0DD9}" type="parTrans" cxnId="{15F18975-6730-4266-A335-ACA49CF95027}">
      <dgm:prSet/>
      <dgm:spPr/>
      <dgm:t>
        <a:bodyPr/>
        <a:lstStyle/>
        <a:p>
          <a:endParaRPr lang="en-US"/>
        </a:p>
      </dgm:t>
    </dgm:pt>
    <dgm:pt modelId="{DF3FCC0F-65BA-4E07-8BE4-B9B9611F3F87}" type="sibTrans" cxnId="{15F18975-6730-4266-A335-ACA49CF95027}">
      <dgm:prSet/>
      <dgm:spPr/>
      <dgm:t>
        <a:bodyPr/>
        <a:lstStyle/>
        <a:p>
          <a:endParaRPr lang="en-US"/>
        </a:p>
      </dgm:t>
    </dgm:pt>
    <dgm:pt modelId="{414983B1-3740-4AE2-8B83-E0D50EFEDB95}">
      <dgm:prSet/>
      <dgm:spPr/>
      <dgm:t>
        <a:bodyPr/>
        <a:lstStyle/>
        <a:p>
          <a:r>
            <a:rPr lang="en-US"/>
            <a:t>Identify </a:t>
          </a:r>
          <a:r>
            <a:rPr lang="en-US" b="1"/>
            <a:t>typos</a:t>
          </a:r>
          <a:r>
            <a:rPr lang="en-US"/>
            <a:t> for variables or properties</a:t>
          </a:r>
        </a:p>
      </dgm:t>
    </dgm:pt>
    <dgm:pt modelId="{45018281-44C9-4F5F-87D1-A12547F9EFAC}" type="parTrans" cxnId="{5DE9626A-94C7-45A0-AF47-2A4569B0EA55}">
      <dgm:prSet/>
      <dgm:spPr/>
      <dgm:t>
        <a:bodyPr/>
        <a:lstStyle/>
        <a:p>
          <a:endParaRPr lang="en-US"/>
        </a:p>
      </dgm:t>
    </dgm:pt>
    <dgm:pt modelId="{FFD25EDA-FB3B-46AC-92D3-95A3EF6ABBBA}" type="sibTrans" cxnId="{5DE9626A-94C7-45A0-AF47-2A4569B0EA55}">
      <dgm:prSet/>
      <dgm:spPr/>
      <dgm:t>
        <a:bodyPr/>
        <a:lstStyle/>
        <a:p>
          <a:endParaRPr lang="en-US"/>
        </a:p>
      </dgm:t>
    </dgm:pt>
    <dgm:pt modelId="{7BB80BBB-EAF1-4BE1-A354-F8684C1E7F64}" type="pres">
      <dgm:prSet presAssocID="{7E94A338-68DE-4B0C-971A-A8D49D3E51E6}" presName="linear" presStyleCnt="0">
        <dgm:presLayoutVars>
          <dgm:animLvl val="lvl"/>
          <dgm:resizeHandles val="exact"/>
        </dgm:presLayoutVars>
      </dgm:prSet>
      <dgm:spPr/>
    </dgm:pt>
    <dgm:pt modelId="{C3DF841A-6AD9-45BB-8A1D-5576C776A68E}" type="pres">
      <dgm:prSet presAssocID="{5E58CB16-4F89-407A-B3DE-C38085622C4C}" presName="parentText" presStyleLbl="node1" presStyleIdx="0" presStyleCnt="4">
        <dgm:presLayoutVars>
          <dgm:chMax val="0"/>
          <dgm:bulletEnabled val="1"/>
        </dgm:presLayoutVars>
      </dgm:prSet>
      <dgm:spPr/>
    </dgm:pt>
    <dgm:pt modelId="{75AF41F5-BF27-4D07-B57C-1C0EE443B773}" type="pres">
      <dgm:prSet presAssocID="{5E58CB16-4F89-407A-B3DE-C38085622C4C}" presName="childText" presStyleLbl="revTx" presStyleIdx="0" presStyleCnt="4">
        <dgm:presLayoutVars>
          <dgm:bulletEnabled val="1"/>
        </dgm:presLayoutVars>
      </dgm:prSet>
      <dgm:spPr/>
    </dgm:pt>
    <dgm:pt modelId="{7486430C-E9A8-42BE-A9DE-B31915D15D33}" type="pres">
      <dgm:prSet presAssocID="{DBAA346C-5359-48D7-BBF4-3749D24B8891}" presName="parentText" presStyleLbl="node1" presStyleIdx="1" presStyleCnt="4">
        <dgm:presLayoutVars>
          <dgm:chMax val="0"/>
          <dgm:bulletEnabled val="1"/>
        </dgm:presLayoutVars>
      </dgm:prSet>
      <dgm:spPr/>
    </dgm:pt>
    <dgm:pt modelId="{77A434E4-A62A-4CE4-819A-510A3B1462F4}" type="pres">
      <dgm:prSet presAssocID="{DBAA346C-5359-48D7-BBF4-3749D24B8891}" presName="childText" presStyleLbl="revTx" presStyleIdx="1" presStyleCnt="4">
        <dgm:presLayoutVars>
          <dgm:bulletEnabled val="1"/>
        </dgm:presLayoutVars>
      </dgm:prSet>
      <dgm:spPr/>
    </dgm:pt>
    <dgm:pt modelId="{48A8230C-0444-4A18-9D8F-EC196D056E33}" type="pres">
      <dgm:prSet presAssocID="{8D163D8B-DB7F-41EE-95D4-EF6A8720AD03}" presName="parentText" presStyleLbl="node1" presStyleIdx="2" presStyleCnt="4">
        <dgm:presLayoutVars>
          <dgm:chMax val="0"/>
          <dgm:bulletEnabled val="1"/>
        </dgm:presLayoutVars>
      </dgm:prSet>
      <dgm:spPr/>
    </dgm:pt>
    <dgm:pt modelId="{6FF2C1E3-1EEE-42C9-9EDB-C9A8823306F1}" type="pres">
      <dgm:prSet presAssocID="{8D163D8B-DB7F-41EE-95D4-EF6A8720AD03}" presName="childText" presStyleLbl="revTx" presStyleIdx="2" presStyleCnt="4">
        <dgm:presLayoutVars>
          <dgm:bulletEnabled val="1"/>
        </dgm:presLayoutVars>
      </dgm:prSet>
      <dgm:spPr/>
    </dgm:pt>
    <dgm:pt modelId="{142EBCDA-F311-4631-8046-02FAB8D730C5}" type="pres">
      <dgm:prSet presAssocID="{3BDCB6F4-087B-4C32-A4E2-C263562A097B}" presName="parentText" presStyleLbl="node1" presStyleIdx="3" presStyleCnt="4">
        <dgm:presLayoutVars>
          <dgm:chMax val="0"/>
          <dgm:bulletEnabled val="1"/>
        </dgm:presLayoutVars>
      </dgm:prSet>
      <dgm:spPr/>
    </dgm:pt>
    <dgm:pt modelId="{CB6F2E14-EA0F-4A49-A5D0-B254E034FEB8}" type="pres">
      <dgm:prSet presAssocID="{3BDCB6F4-087B-4C32-A4E2-C263562A097B}" presName="childText" presStyleLbl="revTx" presStyleIdx="3" presStyleCnt="4">
        <dgm:presLayoutVars>
          <dgm:bulletEnabled val="1"/>
        </dgm:presLayoutVars>
      </dgm:prSet>
      <dgm:spPr/>
    </dgm:pt>
  </dgm:ptLst>
  <dgm:cxnLst>
    <dgm:cxn modelId="{E85CD430-7C64-4DD6-A684-CE1AA4E10FE9}" srcId="{7E94A338-68DE-4B0C-971A-A8D49D3E51E6}" destId="{DBAA346C-5359-48D7-BBF4-3749D24B8891}" srcOrd="1" destOrd="0" parTransId="{6EEFC7FC-FF04-4A08-B714-95D48E90187A}" sibTransId="{510174A5-3A4A-44A9-854C-3F03A7F9CB72}"/>
    <dgm:cxn modelId="{00EB6C3E-17FE-4900-8FAA-1A7AA6DBA8EA}" srcId="{8D163D8B-DB7F-41EE-95D4-EF6A8720AD03}" destId="{D9B882EB-907F-4DCB-AA22-3B99643C603C}" srcOrd="0" destOrd="0" parTransId="{1AE0C39E-F2BE-481C-AA74-0118271EB927}" sibTransId="{F28810E6-3BCA-4EE7-B66B-B1A080910D93}"/>
    <dgm:cxn modelId="{76F66C66-A47A-4B04-A039-551750D7ECE2}" type="presOf" srcId="{DBAA346C-5359-48D7-BBF4-3749D24B8891}" destId="{7486430C-E9A8-42BE-A9DE-B31915D15D33}" srcOrd="0" destOrd="0" presId="urn:microsoft.com/office/officeart/2005/8/layout/vList2"/>
    <dgm:cxn modelId="{5DE9626A-94C7-45A0-AF47-2A4569B0EA55}" srcId="{5E58CB16-4F89-407A-B3DE-C38085622C4C}" destId="{414983B1-3740-4AE2-8B83-E0D50EFEDB95}" srcOrd="0" destOrd="0" parTransId="{45018281-44C9-4F5F-87D1-A12547F9EFAC}" sibTransId="{FFD25EDA-FB3B-46AC-92D3-95A3EF6ABBBA}"/>
    <dgm:cxn modelId="{80999272-5202-40D6-AA45-CE6FA282E574}" type="presOf" srcId="{414983B1-3740-4AE2-8B83-E0D50EFEDB95}" destId="{75AF41F5-BF27-4D07-B57C-1C0EE443B773}" srcOrd="0" destOrd="0" presId="urn:microsoft.com/office/officeart/2005/8/layout/vList2"/>
    <dgm:cxn modelId="{15F18975-6730-4266-A335-ACA49CF95027}" srcId="{3BDCB6F4-087B-4C32-A4E2-C263562A097B}" destId="{162B2FF9-5F72-4A6E-8435-A0573282C186}" srcOrd="0" destOrd="0" parTransId="{5C31E9F6-1E13-4FB6-92DA-0AFEB5EA0DD9}" sibTransId="{DF3FCC0F-65BA-4E07-8BE4-B9B9611F3F87}"/>
    <dgm:cxn modelId="{13FF2080-2819-457E-901B-6D476926FBFA}" type="presOf" srcId="{7E94A338-68DE-4B0C-971A-A8D49D3E51E6}" destId="{7BB80BBB-EAF1-4BE1-A354-F8684C1E7F64}" srcOrd="0" destOrd="0" presId="urn:microsoft.com/office/officeart/2005/8/layout/vList2"/>
    <dgm:cxn modelId="{24AFD891-E45B-43D3-A24B-4C2E05852E29}" srcId="{7E94A338-68DE-4B0C-971A-A8D49D3E51E6}" destId="{5E58CB16-4F89-407A-B3DE-C38085622C4C}" srcOrd="0" destOrd="0" parTransId="{B515A74B-859E-4274-8D67-94E93CB8D556}" sibTransId="{F99C8DFF-425A-48CC-A0ED-62264A99311D}"/>
    <dgm:cxn modelId="{3E028B97-D782-41D3-B750-2777E97C5C92}" type="presOf" srcId="{5E58CB16-4F89-407A-B3DE-C38085622C4C}" destId="{C3DF841A-6AD9-45BB-8A1D-5576C776A68E}" srcOrd="0" destOrd="0" presId="urn:microsoft.com/office/officeart/2005/8/layout/vList2"/>
    <dgm:cxn modelId="{56AAC297-3912-44A8-9174-160444E1D283}" type="presOf" srcId="{19A988A6-1044-404D-AB02-86AE7019C1EF}" destId="{6FF2C1E3-1EEE-42C9-9EDB-C9A8823306F1}" srcOrd="0" destOrd="1" presId="urn:microsoft.com/office/officeart/2005/8/layout/vList2"/>
    <dgm:cxn modelId="{DE03ADA6-77CD-4C2B-AA5D-89CE88EB2AAD}" type="presOf" srcId="{6964E337-CB6C-4208-A4FE-D438A96671AE}" destId="{77A434E4-A62A-4CE4-819A-510A3B1462F4}" srcOrd="0" destOrd="0" presId="urn:microsoft.com/office/officeart/2005/8/layout/vList2"/>
    <dgm:cxn modelId="{425A0FA7-9478-4A95-B999-ACB746327990}" type="presOf" srcId="{8D163D8B-DB7F-41EE-95D4-EF6A8720AD03}" destId="{48A8230C-0444-4A18-9D8F-EC196D056E33}" srcOrd="0" destOrd="0" presId="urn:microsoft.com/office/officeart/2005/8/layout/vList2"/>
    <dgm:cxn modelId="{0BDC1BA7-1846-4744-9B3D-804DFA0E6A4E}" srcId="{DBAA346C-5359-48D7-BBF4-3749D24B8891}" destId="{6964E337-CB6C-4208-A4FE-D438A96671AE}" srcOrd="0" destOrd="0" parTransId="{F7AF920C-9762-4B73-A5DA-4C4C29506F4E}" sibTransId="{3A879E9B-C198-415B-BC0E-02B3CD0AC345}"/>
    <dgm:cxn modelId="{3E9C8EAA-31B9-4114-AF2C-97DE555E7A51}" srcId="{7E94A338-68DE-4B0C-971A-A8D49D3E51E6}" destId="{8D163D8B-DB7F-41EE-95D4-EF6A8720AD03}" srcOrd="2" destOrd="0" parTransId="{20A53224-B201-421D-AC0E-E4F85AFEC84E}" sibTransId="{421CA4B2-999A-4099-B506-A13F976902EB}"/>
    <dgm:cxn modelId="{53C1CCAF-4C0F-4B17-AE2C-FD495B8C14DE}" srcId="{7E94A338-68DE-4B0C-971A-A8D49D3E51E6}" destId="{3BDCB6F4-087B-4C32-A4E2-C263562A097B}" srcOrd="3" destOrd="0" parTransId="{F3927937-6195-463B-A5A0-825FC3A98265}" sibTransId="{23053E50-A975-4919-A52E-DF6D0E0C1EEF}"/>
    <dgm:cxn modelId="{21505EB9-9769-4278-8458-54EB9A7C3608}" type="presOf" srcId="{D9B882EB-907F-4DCB-AA22-3B99643C603C}" destId="{6FF2C1E3-1EEE-42C9-9EDB-C9A8823306F1}" srcOrd="0" destOrd="0" presId="urn:microsoft.com/office/officeart/2005/8/layout/vList2"/>
    <dgm:cxn modelId="{90B66DCA-3450-44F3-9EE7-23608BB4DD2D}" srcId="{8D163D8B-DB7F-41EE-95D4-EF6A8720AD03}" destId="{19A988A6-1044-404D-AB02-86AE7019C1EF}" srcOrd="1" destOrd="0" parTransId="{96B0CB01-8C09-4DA6-887C-BD16C7B903BE}" sibTransId="{9E32753C-7294-4F3E-B79D-9B195F8A0F49}"/>
    <dgm:cxn modelId="{E2885DE6-BB14-4F8C-94E5-2142893D9881}" type="presOf" srcId="{3BDCB6F4-087B-4C32-A4E2-C263562A097B}" destId="{142EBCDA-F311-4631-8046-02FAB8D730C5}" srcOrd="0" destOrd="0" presId="urn:microsoft.com/office/officeart/2005/8/layout/vList2"/>
    <dgm:cxn modelId="{FF30F3EA-F76F-4673-94FB-1BDBB0118F59}" type="presOf" srcId="{162B2FF9-5F72-4A6E-8435-A0573282C186}" destId="{CB6F2E14-EA0F-4A49-A5D0-B254E034FEB8}" srcOrd="0" destOrd="0" presId="urn:microsoft.com/office/officeart/2005/8/layout/vList2"/>
    <dgm:cxn modelId="{95AB67A7-DD83-4EF2-B709-E977CF226AB6}" type="presParOf" srcId="{7BB80BBB-EAF1-4BE1-A354-F8684C1E7F64}" destId="{C3DF841A-6AD9-45BB-8A1D-5576C776A68E}" srcOrd="0" destOrd="0" presId="urn:microsoft.com/office/officeart/2005/8/layout/vList2"/>
    <dgm:cxn modelId="{E0B06005-96AC-4C73-AB08-E96028D424AA}" type="presParOf" srcId="{7BB80BBB-EAF1-4BE1-A354-F8684C1E7F64}" destId="{75AF41F5-BF27-4D07-B57C-1C0EE443B773}" srcOrd="1" destOrd="0" presId="urn:microsoft.com/office/officeart/2005/8/layout/vList2"/>
    <dgm:cxn modelId="{6B1016F5-85D8-43F2-A99B-4E69D77E32E6}" type="presParOf" srcId="{7BB80BBB-EAF1-4BE1-A354-F8684C1E7F64}" destId="{7486430C-E9A8-42BE-A9DE-B31915D15D33}" srcOrd="2" destOrd="0" presId="urn:microsoft.com/office/officeart/2005/8/layout/vList2"/>
    <dgm:cxn modelId="{5D091D61-393F-4BE2-A5B8-B65EF3CFB55C}" type="presParOf" srcId="{7BB80BBB-EAF1-4BE1-A354-F8684C1E7F64}" destId="{77A434E4-A62A-4CE4-819A-510A3B1462F4}" srcOrd="3" destOrd="0" presId="urn:microsoft.com/office/officeart/2005/8/layout/vList2"/>
    <dgm:cxn modelId="{7055D537-ADB3-41FD-9730-DF9A87E865C8}" type="presParOf" srcId="{7BB80BBB-EAF1-4BE1-A354-F8684C1E7F64}" destId="{48A8230C-0444-4A18-9D8F-EC196D056E33}" srcOrd="4" destOrd="0" presId="urn:microsoft.com/office/officeart/2005/8/layout/vList2"/>
    <dgm:cxn modelId="{F4909A20-F3DF-4B3B-8B2D-48CF91329290}" type="presParOf" srcId="{7BB80BBB-EAF1-4BE1-A354-F8684C1E7F64}" destId="{6FF2C1E3-1EEE-42C9-9EDB-C9A8823306F1}" srcOrd="5" destOrd="0" presId="urn:microsoft.com/office/officeart/2005/8/layout/vList2"/>
    <dgm:cxn modelId="{38F0F574-3B30-47CA-B6FA-C156A8745619}" type="presParOf" srcId="{7BB80BBB-EAF1-4BE1-A354-F8684C1E7F64}" destId="{142EBCDA-F311-4631-8046-02FAB8D730C5}" srcOrd="6" destOrd="0" presId="urn:microsoft.com/office/officeart/2005/8/layout/vList2"/>
    <dgm:cxn modelId="{F7AC3071-D376-44EC-A337-384E42C8D396}" type="presParOf" srcId="{7BB80BBB-EAF1-4BE1-A354-F8684C1E7F64}" destId="{CB6F2E14-EA0F-4A49-A5D0-B254E034FEB8}"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7E94A338-68DE-4B0C-971A-A8D49D3E51E6}" type="doc">
      <dgm:prSet loTypeId="urn:microsoft.com/office/officeart/2005/8/layout/list1" loCatId="list" qsTypeId="urn:microsoft.com/office/officeart/2005/8/quickstyle/simple1" qsCatId="simple" csTypeId="urn:microsoft.com/office/officeart/2005/8/colors/accent3_2" csCatId="accent3" phldr="1"/>
      <dgm:spPr/>
      <dgm:t>
        <a:bodyPr/>
        <a:lstStyle/>
        <a:p>
          <a:endParaRPr lang="en-US"/>
        </a:p>
      </dgm:t>
    </dgm:pt>
    <dgm:pt modelId="{5E58CB16-4F89-407A-B3DE-C38085622C4C}">
      <dgm:prSet custT="1">
        <dgm:style>
          <a:lnRef idx="1">
            <a:schemeClr val="accent1"/>
          </a:lnRef>
          <a:fillRef idx="2">
            <a:schemeClr val="accent1"/>
          </a:fillRef>
          <a:effectRef idx="1">
            <a:schemeClr val="accent1"/>
          </a:effectRef>
          <a:fontRef idx="minor">
            <a:schemeClr val="dk1"/>
          </a:fontRef>
        </dgm:style>
      </dgm:prSet>
      <dgm:spPr/>
      <dgm:t>
        <a:bodyPr/>
        <a:lstStyle/>
        <a:p>
          <a:r>
            <a:rPr lang="en-US" sz="2400" b="1"/>
            <a:t>Set-</a:t>
          </a:r>
          <a:r>
            <a:rPr lang="en-US" sz="2400" b="1" err="1"/>
            <a:t>TraceSource</a:t>
          </a:r>
          <a:endParaRPr lang="en-US" sz="2400" b="1"/>
        </a:p>
      </dgm:t>
    </dgm:pt>
    <dgm:pt modelId="{B515A74B-859E-4274-8D67-94E93CB8D556}" type="parTrans" cxnId="{24AFD891-E45B-43D3-A24B-4C2E05852E29}">
      <dgm:prSet/>
      <dgm:spPr/>
      <dgm:t>
        <a:bodyPr/>
        <a:lstStyle/>
        <a:p>
          <a:endParaRPr lang="en-US"/>
        </a:p>
      </dgm:t>
    </dgm:pt>
    <dgm:pt modelId="{F99C8DFF-425A-48CC-A0ED-62264A99311D}" type="sibTrans" cxnId="{24AFD891-E45B-43D3-A24B-4C2E05852E29}">
      <dgm:prSet/>
      <dgm:spPr/>
      <dgm:t>
        <a:bodyPr/>
        <a:lstStyle/>
        <a:p>
          <a:endParaRPr lang="en-US"/>
        </a:p>
      </dgm:t>
    </dgm:pt>
    <dgm:pt modelId="{538EA344-37BF-4316-BADE-B7C1B004C23A}">
      <dgm:prSet custT="1">
        <dgm:style>
          <a:lnRef idx="1">
            <a:schemeClr val="accent1"/>
          </a:lnRef>
          <a:fillRef idx="2">
            <a:schemeClr val="accent1"/>
          </a:fillRef>
          <a:effectRef idx="1">
            <a:schemeClr val="accent1"/>
          </a:effectRef>
          <a:fontRef idx="minor">
            <a:schemeClr val="dk1"/>
          </a:fontRef>
        </dgm:style>
      </dgm:prSet>
      <dgm:spPr/>
      <dgm:t>
        <a:bodyPr/>
        <a:lstStyle/>
        <a:p>
          <a:r>
            <a:rPr lang="en-US" sz="2400" b="1"/>
            <a:t>Trace-Command</a:t>
          </a:r>
        </a:p>
      </dgm:t>
    </dgm:pt>
    <dgm:pt modelId="{09A7F73E-90AB-49C0-931D-9082F19A43F5}" type="parTrans" cxnId="{A3445AFE-8677-423B-8D43-22577DFA0E4E}">
      <dgm:prSet/>
      <dgm:spPr/>
      <dgm:t>
        <a:bodyPr/>
        <a:lstStyle/>
        <a:p>
          <a:endParaRPr lang="en-US"/>
        </a:p>
      </dgm:t>
    </dgm:pt>
    <dgm:pt modelId="{53507FC0-9D04-49A4-AE03-A15798DF78A9}" type="sibTrans" cxnId="{A3445AFE-8677-423B-8D43-22577DFA0E4E}">
      <dgm:prSet/>
      <dgm:spPr/>
      <dgm:t>
        <a:bodyPr/>
        <a:lstStyle/>
        <a:p>
          <a:endParaRPr lang="en-US"/>
        </a:p>
      </dgm:t>
    </dgm:pt>
    <dgm:pt modelId="{7669D57D-0696-4951-B308-8A3CD85E6FBD}">
      <dgm:prSet custT="1">
        <dgm:style>
          <a:lnRef idx="1">
            <a:schemeClr val="accent1"/>
          </a:lnRef>
          <a:fillRef idx="2">
            <a:schemeClr val="accent1"/>
          </a:fillRef>
          <a:effectRef idx="1">
            <a:schemeClr val="accent1"/>
          </a:effectRef>
          <a:fontRef idx="minor">
            <a:schemeClr val="dk1"/>
          </a:fontRef>
        </dgm:style>
      </dgm:prSet>
      <dgm:spPr/>
      <dgm:t>
        <a:bodyPr/>
        <a:lstStyle/>
        <a:p>
          <a:r>
            <a:rPr lang="en-US" sz="2400"/>
            <a:t>Debug information for PowerShell </a:t>
          </a:r>
          <a:r>
            <a:rPr lang="en-US" sz="2400" b="1"/>
            <a:t>Components</a:t>
          </a:r>
          <a:r>
            <a:rPr lang="en-US" sz="2400"/>
            <a:t> </a:t>
          </a:r>
        </a:p>
      </dgm:t>
    </dgm:pt>
    <dgm:pt modelId="{B5BC15D7-3325-4C88-8448-BA225F568373}" type="parTrans" cxnId="{589808D2-E4CA-493E-8583-08C076A68432}">
      <dgm:prSet/>
      <dgm:spPr/>
      <dgm:t>
        <a:bodyPr/>
        <a:lstStyle/>
        <a:p>
          <a:endParaRPr lang="en-US"/>
        </a:p>
      </dgm:t>
    </dgm:pt>
    <dgm:pt modelId="{A40CE55E-23E6-408C-9632-EC06615B732B}" type="sibTrans" cxnId="{589808D2-E4CA-493E-8583-08C076A68432}">
      <dgm:prSet/>
      <dgm:spPr/>
      <dgm:t>
        <a:bodyPr/>
        <a:lstStyle/>
        <a:p>
          <a:endParaRPr lang="en-US"/>
        </a:p>
      </dgm:t>
    </dgm:pt>
    <dgm:pt modelId="{09C70FC5-12FD-4185-9AE0-283725584A1E}">
      <dgm:prSet/>
      <dgm:spPr>
        <a:ln>
          <a:solidFill>
            <a:schemeClr val="accent1"/>
          </a:solidFill>
        </a:ln>
      </dgm:spPr>
      <dgm:t>
        <a:bodyPr/>
        <a:lstStyle/>
        <a:p>
          <a:r>
            <a:rPr lang="en-US" err="1"/>
            <a:t>ParameterBinding</a:t>
          </a:r>
          <a:endParaRPr lang="en-US"/>
        </a:p>
      </dgm:t>
    </dgm:pt>
    <dgm:pt modelId="{10ECF2E2-79DA-4B70-BBB9-27C3DC0F4456}" type="parTrans" cxnId="{24FFB64A-9DDD-4702-8063-B9ED5102131C}">
      <dgm:prSet/>
      <dgm:spPr/>
      <dgm:t>
        <a:bodyPr/>
        <a:lstStyle/>
        <a:p>
          <a:endParaRPr lang="en-US"/>
        </a:p>
      </dgm:t>
    </dgm:pt>
    <dgm:pt modelId="{DDE80442-AC01-4632-A99E-B9DCA6160904}" type="sibTrans" cxnId="{24FFB64A-9DDD-4702-8063-B9ED5102131C}">
      <dgm:prSet/>
      <dgm:spPr/>
      <dgm:t>
        <a:bodyPr/>
        <a:lstStyle/>
        <a:p>
          <a:endParaRPr lang="en-US"/>
        </a:p>
      </dgm:t>
    </dgm:pt>
    <dgm:pt modelId="{BB04D37B-E2B3-48E5-BC80-B7B30B5D88C1}">
      <dgm:prSet/>
      <dgm:spPr>
        <a:ln>
          <a:solidFill>
            <a:schemeClr val="accent1"/>
          </a:solidFill>
        </a:ln>
      </dgm:spPr>
      <dgm:t>
        <a:bodyPr/>
        <a:lstStyle/>
        <a:p>
          <a:r>
            <a:rPr lang="en-US" err="1"/>
            <a:t>TypeConversion</a:t>
          </a:r>
          <a:endParaRPr lang="en-US"/>
        </a:p>
      </dgm:t>
    </dgm:pt>
    <dgm:pt modelId="{1C5F9578-7E77-4B34-A591-6EAB1B071365}" type="parTrans" cxnId="{D4D6343D-FF28-48D2-AF21-459D990D09A6}">
      <dgm:prSet/>
      <dgm:spPr/>
      <dgm:t>
        <a:bodyPr/>
        <a:lstStyle/>
        <a:p>
          <a:endParaRPr lang="en-US"/>
        </a:p>
      </dgm:t>
    </dgm:pt>
    <dgm:pt modelId="{40F5F7C6-FFFA-4CC4-8D37-553B930AE7C7}" type="sibTrans" cxnId="{D4D6343D-FF28-48D2-AF21-459D990D09A6}">
      <dgm:prSet/>
      <dgm:spPr/>
      <dgm:t>
        <a:bodyPr/>
        <a:lstStyle/>
        <a:p>
          <a:endParaRPr lang="en-US"/>
        </a:p>
      </dgm:t>
    </dgm:pt>
    <dgm:pt modelId="{75E6F2A3-6A6C-4B5C-A2FA-AB5198B35CDC}">
      <dgm:prSet custT="1">
        <dgm:style>
          <a:lnRef idx="1">
            <a:schemeClr val="accent1"/>
          </a:lnRef>
          <a:fillRef idx="2">
            <a:schemeClr val="accent1"/>
          </a:fillRef>
          <a:effectRef idx="1">
            <a:schemeClr val="accent1"/>
          </a:effectRef>
          <a:fontRef idx="minor">
            <a:schemeClr val="dk1"/>
          </a:fontRef>
        </dgm:style>
      </dgm:prSet>
      <dgm:spPr/>
      <dgm:t>
        <a:bodyPr/>
        <a:lstStyle/>
        <a:p>
          <a:r>
            <a:rPr lang="en-US" sz="2400" b="1"/>
            <a:t>Get-</a:t>
          </a:r>
          <a:r>
            <a:rPr lang="en-US" sz="2400" b="1" err="1"/>
            <a:t>TraceSource</a:t>
          </a:r>
          <a:endParaRPr lang="en-US" sz="2400" b="1"/>
        </a:p>
      </dgm:t>
    </dgm:pt>
    <dgm:pt modelId="{5579FBB0-D0B4-474A-B442-C565C0BB0FC3}" type="parTrans" cxnId="{1EBDB164-6C26-4F68-8B08-C7CB69C15663}">
      <dgm:prSet/>
      <dgm:spPr/>
      <dgm:t>
        <a:bodyPr/>
        <a:lstStyle/>
        <a:p>
          <a:endParaRPr lang="en-US"/>
        </a:p>
      </dgm:t>
    </dgm:pt>
    <dgm:pt modelId="{B0A0F1EF-32F3-4406-A837-1AC5F43F9016}" type="sibTrans" cxnId="{1EBDB164-6C26-4F68-8B08-C7CB69C15663}">
      <dgm:prSet/>
      <dgm:spPr/>
      <dgm:t>
        <a:bodyPr/>
        <a:lstStyle/>
        <a:p>
          <a:endParaRPr lang="en-US"/>
        </a:p>
      </dgm:t>
    </dgm:pt>
    <dgm:pt modelId="{0C057AF6-5F8E-400F-9201-98E54B70936B}">
      <dgm:prSet/>
      <dgm:spPr>
        <a:ln>
          <a:solidFill>
            <a:schemeClr val="accent1"/>
          </a:solidFill>
        </a:ln>
      </dgm:spPr>
      <dgm:t>
        <a:bodyPr/>
        <a:lstStyle/>
        <a:p>
          <a:r>
            <a:rPr lang="en-US"/>
            <a:t>List available components to trace</a:t>
          </a:r>
        </a:p>
      </dgm:t>
    </dgm:pt>
    <dgm:pt modelId="{1F00F139-9C83-483D-8548-388998A77D79}" type="parTrans" cxnId="{EFB32373-D418-408D-9651-D41AB7F617BA}">
      <dgm:prSet/>
      <dgm:spPr/>
      <dgm:t>
        <a:bodyPr/>
        <a:lstStyle/>
        <a:p>
          <a:endParaRPr lang="en-US"/>
        </a:p>
      </dgm:t>
    </dgm:pt>
    <dgm:pt modelId="{ACDBD4A3-249B-4979-8052-E0EAC42F7DDE}" type="sibTrans" cxnId="{EFB32373-D418-408D-9651-D41AB7F617BA}">
      <dgm:prSet/>
      <dgm:spPr/>
      <dgm:t>
        <a:bodyPr/>
        <a:lstStyle/>
        <a:p>
          <a:endParaRPr lang="en-US"/>
        </a:p>
      </dgm:t>
    </dgm:pt>
    <dgm:pt modelId="{667D5ECA-CC35-4800-8DC3-574310C355F6}">
      <dgm:prSet/>
      <dgm:spPr>
        <a:ln>
          <a:solidFill>
            <a:schemeClr val="accent1"/>
          </a:solidFill>
        </a:ln>
      </dgm:spPr>
      <dgm:t>
        <a:bodyPr/>
        <a:lstStyle/>
        <a:p>
          <a:r>
            <a:rPr lang="en-US"/>
            <a:t>Assign a trace to the global scope</a:t>
          </a:r>
        </a:p>
      </dgm:t>
    </dgm:pt>
    <dgm:pt modelId="{8E0DF6B3-9432-43D5-9E5B-7181A85F3C75}" type="parTrans" cxnId="{0C294ED7-FF5D-4F11-9B0D-49A19E308FB4}">
      <dgm:prSet/>
      <dgm:spPr/>
      <dgm:t>
        <a:bodyPr/>
        <a:lstStyle/>
        <a:p>
          <a:endParaRPr lang="en-US"/>
        </a:p>
      </dgm:t>
    </dgm:pt>
    <dgm:pt modelId="{1A7EF38B-E4DA-4F25-8C85-7522619D9F70}" type="sibTrans" cxnId="{0C294ED7-FF5D-4F11-9B0D-49A19E308FB4}">
      <dgm:prSet/>
      <dgm:spPr/>
      <dgm:t>
        <a:bodyPr/>
        <a:lstStyle/>
        <a:p>
          <a:endParaRPr lang="en-US"/>
        </a:p>
      </dgm:t>
    </dgm:pt>
    <dgm:pt modelId="{17AA00F3-D843-4851-A769-14428AF4C7D7}">
      <dgm:prSet/>
      <dgm:spPr>
        <a:ln>
          <a:solidFill>
            <a:schemeClr val="accent1"/>
          </a:solidFill>
        </a:ln>
      </dgm:spPr>
      <dgm:t>
        <a:bodyPr/>
        <a:lstStyle/>
        <a:p>
          <a:r>
            <a:rPr lang="en-US"/>
            <a:t>Trace a specific script block</a:t>
          </a:r>
        </a:p>
      </dgm:t>
    </dgm:pt>
    <dgm:pt modelId="{825C31C5-29E8-4F51-99AA-F19F75C1AD7E}" type="parTrans" cxnId="{27AC23ED-DFF0-475D-B591-26B8DAAC0A26}">
      <dgm:prSet/>
      <dgm:spPr/>
      <dgm:t>
        <a:bodyPr/>
        <a:lstStyle/>
        <a:p>
          <a:endParaRPr lang="en-US"/>
        </a:p>
      </dgm:t>
    </dgm:pt>
    <dgm:pt modelId="{0F22D912-D5BC-40D1-8A63-4254E2772153}" type="sibTrans" cxnId="{27AC23ED-DFF0-475D-B591-26B8DAAC0A26}">
      <dgm:prSet/>
      <dgm:spPr/>
      <dgm:t>
        <a:bodyPr/>
        <a:lstStyle/>
        <a:p>
          <a:endParaRPr lang="en-US"/>
        </a:p>
      </dgm:t>
    </dgm:pt>
    <dgm:pt modelId="{3B18A576-F40F-441B-91AA-C1448EF7FD13}" type="pres">
      <dgm:prSet presAssocID="{7E94A338-68DE-4B0C-971A-A8D49D3E51E6}" presName="linear" presStyleCnt="0">
        <dgm:presLayoutVars>
          <dgm:dir/>
          <dgm:animLvl val="lvl"/>
          <dgm:resizeHandles val="exact"/>
        </dgm:presLayoutVars>
      </dgm:prSet>
      <dgm:spPr/>
    </dgm:pt>
    <dgm:pt modelId="{8E2DE121-82CD-4574-B411-2023D605DC6E}" type="pres">
      <dgm:prSet presAssocID="{7669D57D-0696-4951-B308-8A3CD85E6FBD}" presName="parentLin" presStyleCnt="0"/>
      <dgm:spPr/>
    </dgm:pt>
    <dgm:pt modelId="{51D37DCD-7F8E-4995-9B22-D204330152B1}" type="pres">
      <dgm:prSet presAssocID="{7669D57D-0696-4951-B308-8A3CD85E6FBD}" presName="parentLeftMargin" presStyleLbl="node1" presStyleIdx="0" presStyleCnt="4"/>
      <dgm:spPr/>
    </dgm:pt>
    <dgm:pt modelId="{2591CFA7-F5F6-44D0-BB57-B44EE40ED3F1}" type="pres">
      <dgm:prSet presAssocID="{7669D57D-0696-4951-B308-8A3CD85E6FBD}" presName="parentText" presStyleLbl="node1" presStyleIdx="0" presStyleCnt="4">
        <dgm:presLayoutVars>
          <dgm:chMax val="0"/>
          <dgm:bulletEnabled val="1"/>
        </dgm:presLayoutVars>
      </dgm:prSet>
      <dgm:spPr/>
    </dgm:pt>
    <dgm:pt modelId="{079A0CF0-B07F-44AD-9E7C-1AFBA3AB54B1}" type="pres">
      <dgm:prSet presAssocID="{7669D57D-0696-4951-B308-8A3CD85E6FBD}" presName="negativeSpace" presStyleCnt="0"/>
      <dgm:spPr/>
    </dgm:pt>
    <dgm:pt modelId="{966536BC-FCAB-4D8E-8B49-16D755FEDEFD}" type="pres">
      <dgm:prSet presAssocID="{7669D57D-0696-4951-B308-8A3CD85E6FBD}" presName="childText" presStyleLbl="conFgAcc1" presStyleIdx="0" presStyleCnt="4">
        <dgm:presLayoutVars>
          <dgm:bulletEnabled val="1"/>
        </dgm:presLayoutVars>
      </dgm:prSet>
      <dgm:spPr/>
    </dgm:pt>
    <dgm:pt modelId="{3D56FEB5-D7FD-4C6F-A730-BF85E920A716}" type="pres">
      <dgm:prSet presAssocID="{A40CE55E-23E6-408C-9632-EC06615B732B}" presName="spaceBetweenRectangles" presStyleCnt="0"/>
      <dgm:spPr/>
    </dgm:pt>
    <dgm:pt modelId="{57E278FA-0570-4CD7-AC4D-F0880E3E600E}" type="pres">
      <dgm:prSet presAssocID="{75E6F2A3-6A6C-4B5C-A2FA-AB5198B35CDC}" presName="parentLin" presStyleCnt="0"/>
      <dgm:spPr/>
    </dgm:pt>
    <dgm:pt modelId="{8F54B98F-6188-4A16-9434-425AC66E8722}" type="pres">
      <dgm:prSet presAssocID="{75E6F2A3-6A6C-4B5C-A2FA-AB5198B35CDC}" presName="parentLeftMargin" presStyleLbl="node1" presStyleIdx="0" presStyleCnt="4"/>
      <dgm:spPr/>
    </dgm:pt>
    <dgm:pt modelId="{9D2980C8-E590-4E62-8A4F-F96F8D16F795}" type="pres">
      <dgm:prSet presAssocID="{75E6F2A3-6A6C-4B5C-A2FA-AB5198B35CDC}" presName="parentText" presStyleLbl="node1" presStyleIdx="1" presStyleCnt="4">
        <dgm:presLayoutVars>
          <dgm:chMax val="0"/>
          <dgm:bulletEnabled val="1"/>
        </dgm:presLayoutVars>
      </dgm:prSet>
      <dgm:spPr/>
    </dgm:pt>
    <dgm:pt modelId="{A1BF6216-F612-4676-92C3-9071721C8F84}" type="pres">
      <dgm:prSet presAssocID="{75E6F2A3-6A6C-4B5C-A2FA-AB5198B35CDC}" presName="negativeSpace" presStyleCnt="0"/>
      <dgm:spPr/>
    </dgm:pt>
    <dgm:pt modelId="{29A68813-F807-448E-A3ED-FABBAE864371}" type="pres">
      <dgm:prSet presAssocID="{75E6F2A3-6A6C-4B5C-A2FA-AB5198B35CDC}" presName="childText" presStyleLbl="conFgAcc1" presStyleIdx="1" presStyleCnt="4">
        <dgm:presLayoutVars>
          <dgm:bulletEnabled val="1"/>
        </dgm:presLayoutVars>
      </dgm:prSet>
      <dgm:spPr/>
    </dgm:pt>
    <dgm:pt modelId="{DAEEACD2-9763-441D-8902-0BE9FD83D665}" type="pres">
      <dgm:prSet presAssocID="{B0A0F1EF-32F3-4406-A837-1AC5F43F9016}" presName="spaceBetweenRectangles" presStyleCnt="0"/>
      <dgm:spPr/>
    </dgm:pt>
    <dgm:pt modelId="{C92F3D90-CDD5-4B52-8AEC-52FD95BC5AE2}" type="pres">
      <dgm:prSet presAssocID="{5E58CB16-4F89-407A-B3DE-C38085622C4C}" presName="parentLin" presStyleCnt="0"/>
      <dgm:spPr/>
    </dgm:pt>
    <dgm:pt modelId="{4B69371E-A6CF-498A-A3BF-855A0F7FD595}" type="pres">
      <dgm:prSet presAssocID="{5E58CB16-4F89-407A-B3DE-C38085622C4C}" presName="parentLeftMargin" presStyleLbl="node1" presStyleIdx="1" presStyleCnt="4"/>
      <dgm:spPr/>
    </dgm:pt>
    <dgm:pt modelId="{4A8E553D-40FB-4561-A6F6-7190C42986FE}" type="pres">
      <dgm:prSet presAssocID="{5E58CB16-4F89-407A-B3DE-C38085622C4C}" presName="parentText" presStyleLbl="node1" presStyleIdx="2" presStyleCnt="4">
        <dgm:presLayoutVars>
          <dgm:chMax val="0"/>
          <dgm:bulletEnabled val="1"/>
        </dgm:presLayoutVars>
      </dgm:prSet>
      <dgm:spPr/>
    </dgm:pt>
    <dgm:pt modelId="{B984D85C-138F-4B13-A3A3-5B0C3F9922B8}" type="pres">
      <dgm:prSet presAssocID="{5E58CB16-4F89-407A-B3DE-C38085622C4C}" presName="negativeSpace" presStyleCnt="0"/>
      <dgm:spPr/>
    </dgm:pt>
    <dgm:pt modelId="{A6469773-2DAD-4CE2-BB5E-BF6D7F673CC6}" type="pres">
      <dgm:prSet presAssocID="{5E58CB16-4F89-407A-B3DE-C38085622C4C}" presName="childText" presStyleLbl="conFgAcc1" presStyleIdx="2" presStyleCnt="4">
        <dgm:presLayoutVars>
          <dgm:bulletEnabled val="1"/>
        </dgm:presLayoutVars>
      </dgm:prSet>
      <dgm:spPr/>
    </dgm:pt>
    <dgm:pt modelId="{69880838-D0C9-4837-A0E6-DBD51C293ADF}" type="pres">
      <dgm:prSet presAssocID="{F99C8DFF-425A-48CC-A0ED-62264A99311D}" presName="spaceBetweenRectangles" presStyleCnt="0"/>
      <dgm:spPr/>
    </dgm:pt>
    <dgm:pt modelId="{D360B2D7-8745-4F78-9043-40BAE2C06F48}" type="pres">
      <dgm:prSet presAssocID="{538EA344-37BF-4316-BADE-B7C1B004C23A}" presName="parentLin" presStyleCnt="0"/>
      <dgm:spPr/>
    </dgm:pt>
    <dgm:pt modelId="{E6AF6BE2-A1E4-419C-8A54-12B93359C3C0}" type="pres">
      <dgm:prSet presAssocID="{538EA344-37BF-4316-BADE-B7C1B004C23A}" presName="parentLeftMargin" presStyleLbl="node1" presStyleIdx="2" presStyleCnt="4"/>
      <dgm:spPr/>
    </dgm:pt>
    <dgm:pt modelId="{37B4E258-4F21-406E-BB26-2AC587D7E4D6}" type="pres">
      <dgm:prSet presAssocID="{538EA344-37BF-4316-BADE-B7C1B004C23A}" presName="parentText" presStyleLbl="node1" presStyleIdx="3" presStyleCnt="4">
        <dgm:presLayoutVars>
          <dgm:chMax val="0"/>
          <dgm:bulletEnabled val="1"/>
        </dgm:presLayoutVars>
      </dgm:prSet>
      <dgm:spPr/>
    </dgm:pt>
    <dgm:pt modelId="{115F0871-E23F-455A-A2B4-250EBEAF4764}" type="pres">
      <dgm:prSet presAssocID="{538EA344-37BF-4316-BADE-B7C1B004C23A}" presName="negativeSpace" presStyleCnt="0"/>
      <dgm:spPr/>
    </dgm:pt>
    <dgm:pt modelId="{ECEC1666-2BF8-475E-B7E3-015F8D9F1D52}" type="pres">
      <dgm:prSet presAssocID="{538EA344-37BF-4316-BADE-B7C1B004C23A}" presName="childText" presStyleLbl="conFgAcc1" presStyleIdx="3" presStyleCnt="4">
        <dgm:presLayoutVars>
          <dgm:bulletEnabled val="1"/>
        </dgm:presLayoutVars>
      </dgm:prSet>
      <dgm:spPr/>
    </dgm:pt>
  </dgm:ptLst>
  <dgm:cxnLst>
    <dgm:cxn modelId="{D4D6343D-FF28-48D2-AF21-459D990D09A6}" srcId="{7669D57D-0696-4951-B308-8A3CD85E6FBD}" destId="{BB04D37B-E2B3-48E5-BC80-B7B30B5D88C1}" srcOrd="1" destOrd="0" parTransId="{1C5F9578-7E77-4B34-A591-6EAB1B071365}" sibTransId="{40F5F7C6-FFFA-4CC4-8D37-553B930AE7C7}"/>
    <dgm:cxn modelId="{3C792144-1959-4329-AF64-D0FF1268E3FF}" type="presOf" srcId="{5E58CB16-4F89-407A-B3DE-C38085622C4C}" destId="{4B69371E-A6CF-498A-A3BF-855A0F7FD595}" srcOrd="0" destOrd="0" presId="urn:microsoft.com/office/officeart/2005/8/layout/list1"/>
    <dgm:cxn modelId="{1EBDB164-6C26-4F68-8B08-C7CB69C15663}" srcId="{7E94A338-68DE-4B0C-971A-A8D49D3E51E6}" destId="{75E6F2A3-6A6C-4B5C-A2FA-AB5198B35CDC}" srcOrd="1" destOrd="0" parTransId="{5579FBB0-D0B4-474A-B442-C565C0BB0FC3}" sibTransId="{B0A0F1EF-32F3-4406-A837-1AC5F43F9016}"/>
    <dgm:cxn modelId="{79400C66-35D0-430D-AEE3-D32431D54979}" type="presOf" srcId="{538EA344-37BF-4316-BADE-B7C1B004C23A}" destId="{E6AF6BE2-A1E4-419C-8A54-12B93359C3C0}" srcOrd="0" destOrd="0" presId="urn:microsoft.com/office/officeart/2005/8/layout/list1"/>
    <dgm:cxn modelId="{319D1C68-820A-4600-9FA5-8D4A2CE7707E}" type="presOf" srcId="{538EA344-37BF-4316-BADE-B7C1B004C23A}" destId="{37B4E258-4F21-406E-BB26-2AC587D7E4D6}" srcOrd="1" destOrd="0" presId="urn:microsoft.com/office/officeart/2005/8/layout/list1"/>
    <dgm:cxn modelId="{11964569-5FE3-4430-B63E-DB04341AF34A}" type="presOf" srcId="{7669D57D-0696-4951-B308-8A3CD85E6FBD}" destId="{2591CFA7-F5F6-44D0-BB57-B44EE40ED3F1}" srcOrd="1" destOrd="0" presId="urn:microsoft.com/office/officeart/2005/8/layout/list1"/>
    <dgm:cxn modelId="{24FFB64A-9DDD-4702-8063-B9ED5102131C}" srcId="{7669D57D-0696-4951-B308-8A3CD85E6FBD}" destId="{09C70FC5-12FD-4185-9AE0-283725584A1E}" srcOrd="0" destOrd="0" parTransId="{10ECF2E2-79DA-4B70-BBB9-27C3DC0F4456}" sibTransId="{DDE80442-AC01-4632-A99E-B9DCA6160904}"/>
    <dgm:cxn modelId="{FF5BFC52-389E-41C3-A3BE-A060164B1934}" type="presOf" srcId="{7669D57D-0696-4951-B308-8A3CD85E6FBD}" destId="{51D37DCD-7F8E-4995-9B22-D204330152B1}" srcOrd="0" destOrd="0" presId="urn:microsoft.com/office/officeart/2005/8/layout/list1"/>
    <dgm:cxn modelId="{EFB32373-D418-408D-9651-D41AB7F617BA}" srcId="{75E6F2A3-6A6C-4B5C-A2FA-AB5198B35CDC}" destId="{0C057AF6-5F8E-400F-9201-98E54B70936B}" srcOrd="0" destOrd="0" parTransId="{1F00F139-9C83-483D-8548-388998A77D79}" sibTransId="{ACDBD4A3-249B-4979-8052-E0EAC42F7DDE}"/>
    <dgm:cxn modelId="{8C3F5F54-8952-46A9-89FF-64C5614A3DBD}" type="presOf" srcId="{75E6F2A3-6A6C-4B5C-A2FA-AB5198B35CDC}" destId="{9D2980C8-E590-4E62-8A4F-F96F8D16F795}" srcOrd="1" destOrd="0" presId="urn:microsoft.com/office/officeart/2005/8/layout/list1"/>
    <dgm:cxn modelId="{ABA86257-C088-439C-B6CA-2AA4E9AA4F71}" type="presOf" srcId="{5E58CB16-4F89-407A-B3DE-C38085622C4C}" destId="{4A8E553D-40FB-4561-A6F6-7190C42986FE}" srcOrd="1" destOrd="0" presId="urn:microsoft.com/office/officeart/2005/8/layout/list1"/>
    <dgm:cxn modelId="{24AFD891-E45B-43D3-A24B-4C2E05852E29}" srcId="{7E94A338-68DE-4B0C-971A-A8D49D3E51E6}" destId="{5E58CB16-4F89-407A-B3DE-C38085622C4C}" srcOrd="2" destOrd="0" parTransId="{B515A74B-859E-4274-8D67-94E93CB8D556}" sibTransId="{F99C8DFF-425A-48CC-A0ED-62264A99311D}"/>
    <dgm:cxn modelId="{41D6FBA9-D655-4DA6-9E80-B83C288F5206}" type="presOf" srcId="{667D5ECA-CC35-4800-8DC3-574310C355F6}" destId="{A6469773-2DAD-4CE2-BB5E-BF6D7F673CC6}" srcOrd="0" destOrd="0" presId="urn:microsoft.com/office/officeart/2005/8/layout/list1"/>
    <dgm:cxn modelId="{D26155B7-779A-4985-89D3-9C91E97C9C00}" type="presOf" srcId="{0C057AF6-5F8E-400F-9201-98E54B70936B}" destId="{29A68813-F807-448E-A3ED-FABBAE864371}" srcOrd="0" destOrd="0" presId="urn:microsoft.com/office/officeart/2005/8/layout/list1"/>
    <dgm:cxn modelId="{8A13D6BA-FAAE-45B8-8768-8F16A13D8703}" type="presOf" srcId="{7E94A338-68DE-4B0C-971A-A8D49D3E51E6}" destId="{3B18A576-F40F-441B-91AA-C1448EF7FD13}" srcOrd="0" destOrd="0" presId="urn:microsoft.com/office/officeart/2005/8/layout/list1"/>
    <dgm:cxn modelId="{96E8EBCE-61D5-42D7-92F6-29576C5A4ADD}" type="presOf" srcId="{BB04D37B-E2B3-48E5-BC80-B7B30B5D88C1}" destId="{966536BC-FCAB-4D8E-8B49-16D755FEDEFD}" srcOrd="0" destOrd="1" presId="urn:microsoft.com/office/officeart/2005/8/layout/list1"/>
    <dgm:cxn modelId="{589808D2-E4CA-493E-8583-08C076A68432}" srcId="{7E94A338-68DE-4B0C-971A-A8D49D3E51E6}" destId="{7669D57D-0696-4951-B308-8A3CD85E6FBD}" srcOrd="0" destOrd="0" parTransId="{B5BC15D7-3325-4C88-8448-BA225F568373}" sibTransId="{A40CE55E-23E6-408C-9632-EC06615B732B}"/>
    <dgm:cxn modelId="{0C294ED7-FF5D-4F11-9B0D-49A19E308FB4}" srcId="{5E58CB16-4F89-407A-B3DE-C38085622C4C}" destId="{667D5ECA-CC35-4800-8DC3-574310C355F6}" srcOrd="0" destOrd="0" parTransId="{8E0DF6B3-9432-43D5-9E5B-7181A85F3C75}" sibTransId="{1A7EF38B-E4DA-4F25-8C85-7522619D9F70}"/>
    <dgm:cxn modelId="{C00AF8DB-43AA-4BE3-9B50-FF5D9069B631}" type="presOf" srcId="{09C70FC5-12FD-4185-9AE0-283725584A1E}" destId="{966536BC-FCAB-4D8E-8B49-16D755FEDEFD}" srcOrd="0" destOrd="0" presId="urn:microsoft.com/office/officeart/2005/8/layout/list1"/>
    <dgm:cxn modelId="{FAEB95EB-0810-45B7-8325-4D86B5B71301}" type="presOf" srcId="{17AA00F3-D843-4851-A769-14428AF4C7D7}" destId="{ECEC1666-2BF8-475E-B7E3-015F8D9F1D52}" srcOrd="0" destOrd="0" presId="urn:microsoft.com/office/officeart/2005/8/layout/list1"/>
    <dgm:cxn modelId="{27AC23ED-DFF0-475D-B591-26B8DAAC0A26}" srcId="{538EA344-37BF-4316-BADE-B7C1B004C23A}" destId="{17AA00F3-D843-4851-A769-14428AF4C7D7}" srcOrd="0" destOrd="0" parTransId="{825C31C5-29E8-4F51-99AA-F19F75C1AD7E}" sibTransId="{0F22D912-D5BC-40D1-8A63-4254E2772153}"/>
    <dgm:cxn modelId="{463170ED-58E8-4FD3-9270-DB1C4CB43C25}" type="presOf" srcId="{75E6F2A3-6A6C-4B5C-A2FA-AB5198B35CDC}" destId="{8F54B98F-6188-4A16-9434-425AC66E8722}" srcOrd="0" destOrd="0" presId="urn:microsoft.com/office/officeart/2005/8/layout/list1"/>
    <dgm:cxn modelId="{A3445AFE-8677-423B-8D43-22577DFA0E4E}" srcId="{7E94A338-68DE-4B0C-971A-A8D49D3E51E6}" destId="{538EA344-37BF-4316-BADE-B7C1B004C23A}" srcOrd="3" destOrd="0" parTransId="{09A7F73E-90AB-49C0-931D-9082F19A43F5}" sibTransId="{53507FC0-9D04-49A4-AE03-A15798DF78A9}"/>
    <dgm:cxn modelId="{F555F3B7-AEB1-4BF6-86DC-B7AD9CFBA823}" type="presParOf" srcId="{3B18A576-F40F-441B-91AA-C1448EF7FD13}" destId="{8E2DE121-82CD-4574-B411-2023D605DC6E}" srcOrd="0" destOrd="0" presId="urn:microsoft.com/office/officeart/2005/8/layout/list1"/>
    <dgm:cxn modelId="{EF77E364-459A-4348-A950-E69165F3E014}" type="presParOf" srcId="{8E2DE121-82CD-4574-B411-2023D605DC6E}" destId="{51D37DCD-7F8E-4995-9B22-D204330152B1}" srcOrd="0" destOrd="0" presId="urn:microsoft.com/office/officeart/2005/8/layout/list1"/>
    <dgm:cxn modelId="{3FDA1332-C2E8-43E6-AC75-8F2E8DCE2346}" type="presParOf" srcId="{8E2DE121-82CD-4574-B411-2023D605DC6E}" destId="{2591CFA7-F5F6-44D0-BB57-B44EE40ED3F1}" srcOrd="1" destOrd="0" presId="urn:microsoft.com/office/officeart/2005/8/layout/list1"/>
    <dgm:cxn modelId="{00AFEF4B-8802-4C42-94E3-9E4162DB169E}" type="presParOf" srcId="{3B18A576-F40F-441B-91AA-C1448EF7FD13}" destId="{079A0CF0-B07F-44AD-9E7C-1AFBA3AB54B1}" srcOrd="1" destOrd="0" presId="urn:microsoft.com/office/officeart/2005/8/layout/list1"/>
    <dgm:cxn modelId="{396E6C85-D842-4779-B39D-06C2A406D5B6}" type="presParOf" srcId="{3B18A576-F40F-441B-91AA-C1448EF7FD13}" destId="{966536BC-FCAB-4D8E-8B49-16D755FEDEFD}" srcOrd="2" destOrd="0" presId="urn:microsoft.com/office/officeart/2005/8/layout/list1"/>
    <dgm:cxn modelId="{48F53E6B-5F0A-42F0-9261-C4DA692C8E22}" type="presParOf" srcId="{3B18A576-F40F-441B-91AA-C1448EF7FD13}" destId="{3D56FEB5-D7FD-4C6F-A730-BF85E920A716}" srcOrd="3" destOrd="0" presId="urn:microsoft.com/office/officeart/2005/8/layout/list1"/>
    <dgm:cxn modelId="{D9D83B08-0B3D-4975-9F30-B99ED62F93BB}" type="presParOf" srcId="{3B18A576-F40F-441B-91AA-C1448EF7FD13}" destId="{57E278FA-0570-4CD7-AC4D-F0880E3E600E}" srcOrd="4" destOrd="0" presId="urn:microsoft.com/office/officeart/2005/8/layout/list1"/>
    <dgm:cxn modelId="{8C498D70-310B-4B4B-9678-167EA2DB067D}" type="presParOf" srcId="{57E278FA-0570-4CD7-AC4D-F0880E3E600E}" destId="{8F54B98F-6188-4A16-9434-425AC66E8722}" srcOrd="0" destOrd="0" presId="urn:microsoft.com/office/officeart/2005/8/layout/list1"/>
    <dgm:cxn modelId="{3AAE746C-6E15-4766-94A6-B297DA38AB86}" type="presParOf" srcId="{57E278FA-0570-4CD7-AC4D-F0880E3E600E}" destId="{9D2980C8-E590-4E62-8A4F-F96F8D16F795}" srcOrd="1" destOrd="0" presId="urn:microsoft.com/office/officeart/2005/8/layout/list1"/>
    <dgm:cxn modelId="{02CCC0CE-19EE-45A2-A80C-00816830A9C5}" type="presParOf" srcId="{3B18A576-F40F-441B-91AA-C1448EF7FD13}" destId="{A1BF6216-F612-4676-92C3-9071721C8F84}" srcOrd="5" destOrd="0" presId="urn:microsoft.com/office/officeart/2005/8/layout/list1"/>
    <dgm:cxn modelId="{8FE6278A-EDCF-4ADD-B195-EF16F032183D}" type="presParOf" srcId="{3B18A576-F40F-441B-91AA-C1448EF7FD13}" destId="{29A68813-F807-448E-A3ED-FABBAE864371}" srcOrd="6" destOrd="0" presId="urn:microsoft.com/office/officeart/2005/8/layout/list1"/>
    <dgm:cxn modelId="{31E68B65-3553-48AA-B7A7-995C17846335}" type="presParOf" srcId="{3B18A576-F40F-441B-91AA-C1448EF7FD13}" destId="{DAEEACD2-9763-441D-8902-0BE9FD83D665}" srcOrd="7" destOrd="0" presId="urn:microsoft.com/office/officeart/2005/8/layout/list1"/>
    <dgm:cxn modelId="{AEFC26B4-C41B-44D7-A39C-99FA84EF6F86}" type="presParOf" srcId="{3B18A576-F40F-441B-91AA-C1448EF7FD13}" destId="{C92F3D90-CDD5-4B52-8AEC-52FD95BC5AE2}" srcOrd="8" destOrd="0" presId="urn:microsoft.com/office/officeart/2005/8/layout/list1"/>
    <dgm:cxn modelId="{81BEF3DA-DE52-4FB8-9FF3-430CE9242E66}" type="presParOf" srcId="{C92F3D90-CDD5-4B52-8AEC-52FD95BC5AE2}" destId="{4B69371E-A6CF-498A-A3BF-855A0F7FD595}" srcOrd="0" destOrd="0" presId="urn:microsoft.com/office/officeart/2005/8/layout/list1"/>
    <dgm:cxn modelId="{F393CA39-98D7-4CA1-B295-46CDC0D21A27}" type="presParOf" srcId="{C92F3D90-CDD5-4B52-8AEC-52FD95BC5AE2}" destId="{4A8E553D-40FB-4561-A6F6-7190C42986FE}" srcOrd="1" destOrd="0" presId="urn:microsoft.com/office/officeart/2005/8/layout/list1"/>
    <dgm:cxn modelId="{047404C4-1964-4A5E-BD5E-F5E7E579E5BF}" type="presParOf" srcId="{3B18A576-F40F-441B-91AA-C1448EF7FD13}" destId="{B984D85C-138F-4B13-A3A3-5B0C3F9922B8}" srcOrd="9" destOrd="0" presId="urn:microsoft.com/office/officeart/2005/8/layout/list1"/>
    <dgm:cxn modelId="{26C25673-6ED7-4F1E-9F01-74F2FA735488}" type="presParOf" srcId="{3B18A576-F40F-441B-91AA-C1448EF7FD13}" destId="{A6469773-2DAD-4CE2-BB5E-BF6D7F673CC6}" srcOrd="10" destOrd="0" presId="urn:microsoft.com/office/officeart/2005/8/layout/list1"/>
    <dgm:cxn modelId="{F00653A2-C055-446B-A59B-BD25C5DE9C10}" type="presParOf" srcId="{3B18A576-F40F-441B-91AA-C1448EF7FD13}" destId="{69880838-D0C9-4837-A0E6-DBD51C293ADF}" srcOrd="11" destOrd="0" presId="urn:microsoft.com/office/officeart/2005/8/layout/list1"/>
    <dgm:cxn modelId="{608811F3-3C3D-4759-93C9-071A9D8AF9CA}" type="presParOf" srcId="{3B18A576-F40F-441B-91AA-C1448EF7FD13}" destId="{D360B2D7-8745-4F78-9043-40BAE2C06F48}" srcOrd="12" destOrd="0" presId="urn:microsoft.com/office/officeart/2005/8/layout/list1"/>
    <dgm:cxn modelId="{295C871B-6BA8-4F34-8992-E65F8A38D4E7}" type="presParOf" srcId="{D360B2D7-8745-4F78-9043-40BAE2C06F48}" destId="{E6AF6BE2-A1E4-419C-8A54-12B93359C3C0}" srcOrd="0" destOrd="0" presId="urn:microsoft.com/office/officeart/2005/8/layout/list1"/>
    <dgm:cxn modelId="{A0726974-BEF3-4C48-9052-DA6F844E8BE8}" type="presParOf" srcId="{D360B2D7-8745-4F78-9043-40BAE2C06F48}" destId="{37B4E258-4F21-406E-BB26-2AC587D7E4D6}" srcOrd="1" destOrd="0" presId="urn:microsoft.com/office/officeart/2005/8/layout/list1"/>
    <dgm:cxn modelId="{5EDFA243-2110-4A97-9119-92BE25E60835}" type="presParOf" srcId="{3B18A576-F40F-441B-91AA-C1448EF7FD13}" destId="{115F0871-E23F-455A-A2B4-250EBEAF4764}" srcOrd="13" destOrd="0" presId="urn:microsoft.com/office/officeart/2005/8/layout/list1"/>
    <dgm:cxn modelId="{7077937E-9CA1-496D-BD34-B3E670E005D4}" type="presParOf" srcId="{3B18A576-F40F-441B-91AA-C1448EF7FD13}" destId="{ECEC1666-2BF8-475E-B7E3-015F8D9F1D52}" srcOrd="14"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7E94A338-68DE-4B0C-971A-A8D49D3E51E6}" type="doc">
      <dgm:prSet loTypeId="urn:microsoft.com/office/officeart/2008/layout/LinedList" loCatId="list" qsTypeId="urn:microsoft.com/office/officeart/2005/8/quickstyle/simple1" qsCatId="simple" csTypeId="urn:microsoft.com/office/officeart/2005/8/colors/colorful1" csCatId="colorful" phldr="1"/>
      <dgm:spPr/>
      <dgm:t>
        <a:bodyPr/>
        <a:lstStyle/>
        <a:p>
          <a:endParaRPr lang="en-US"/>
        </a:p>
      </dgm:t>
    </dgm:pt>
    <dgm:pt modelId="{5E58CB16-4F89-407A-B3DE-C38085622C4C}">
      <dgm:prSet/>
      <dgm:spPr/>
      <dgm:t>
        <a:bodyPr/>
        <a:lstStyle/>
        <a:p>
          <a:r>
            <a:rPr lang="en-US" b="0" i="0"/>
            <a:t>Turns script debugging features on and off</a:t>
          </a:r>
          <a:endParaRPr lang="en-US"/>
        </a:p>
      </dgm:t>
    </dgm:pt>
    <dgm:pt modelId="{B515A74B-859E-4274-8D67-94E93CB8D556}" type="parTrans" cxnId="{24AFD891-E45B-43D3-A24B-4C2E05852E29}">
      <dgm:prSet/>
      <dgm:spPr/>
      <dgm:t>
        <a:bodyPr/>
        <a:lstStyle/>
        <a:p>
          <a:endParaRPr lang="en-US"/>
        </a:p>
      </dgm:t>
    </dgm:pt>
    <dgm:pt modelId="{F99C8DFF-425A-48CC-A0ED-62264A99311D}" type="sibTrans" cxnId="{24AFD891-E45B-43D3-A24B-4C2E05852E29}">
      <dgm:prSet/>
      <dgm:spPr/>
      <dgm:t>
        <a:bodyPr/>
        <a:lstStyle/>
        <a:p>
          <a:endParaRPr lang="en-US"/>
        </a:p>
      </dgm:t>
    </dgm:pt>
    <dgm:pt modelId="{D32A4597-89A4-4E97-9F0C-5B9D7F172799}">
      <dgm:prSet/>
      <dgm:spPr/>
      <dgm:t>
        <a:bodyPr/>
        <a:lstStyle/>
        <a:p>
          <a:r>
            <a:rPr lang="en-US" b="0" i="0"/>
            <a:t>Sets the </a:t>
          </a:r>
          <a:r>
            <a:rPr lang="en-US" b="1" i="0"/>
            <a:t>trace level</a:t>
          </a:r>
          <a:endParaRPr lang="en-US" b="1"/>
        </a:p>
      </dgm:t>
    </dgm:pt>
    <dgm:pt modelId="{B22E3119-2CEA-42C0-9D39-97620882F31A}" type="parTrans" cxnId="{A376BFF9-8F1A-49ED-9A41-E83568E67A30}">
      <dgm:prSet/>
      <dgm:spPr/>
      <dgm:t>
        <a:bodyPr/>
        <a:lstStyle/>
        <a:p>
          <a:endParaRPr lang="en-US"/>
        </a:p>
      </dgm:t>
    </dgm:pt>
    <dgm:pt modelId="{E8664771-0B94-4EF9-8761-A53B692001AE}" type="sibTrans" cxnId="{A376BFF9-8F1A-49ED-9A41-E83568E67A30}">
      <dgm:prSet/>
      <dgm:spPr/>
      <dgm:t>
        <a:bodyPr/>
        <a:lstStyle/>
        <a:p>
          <a:endParaRPr lang="en-US"/>
        </a:p>
      </dgm:t>
    </dgm:pt>
    <dgm:pt modelId="{D5931EE7-F699-44F1-9B88-025F746D418A}">
      <dgm:prSet/>
      <dgm:spPr/>
      <dgm:t>
        <a:bodyPr/>
        <a:lstStyle/>
        <a:p>
          <a:r>
            <a:rPr lang="en-US" b="0" i="0"/>
            <a:t>Toggles </a:t>
          </a:r>
          <a:r>
            <a:rPr lang="en-US" b="1" i="0"/>
            <a:t>strict mode</a:t>
          </a:r>
          <a:endParaRPr lang="en-US"/>
        </a:p>
      </dgm:t>
    </dgm:pt>
    <dgm:pt modelId="{1223EA2B-93BA-42A2-8D90-568888411D55}" type="parTrans" cxnId="{5722ED64-CEBF-4417-A3EE-037CB1844A09}">
      <dgm:prSet/>
      <dgm:spPr/>
      <dgm:t>
        <a:bodyPr/>
        <a:lstStyle/>
        <a:p>
          <a:endParaRPr lang="en-US"/>
        </a:p>
      </dgm:t>
    </dgm:pt>
    <dgm:pt modelId="{DBB8A6FD-EE57-45C1-AC2C-44C55ECE0718}" type="sibTrans" cxnId="{5722ED64-CEBF-4417-A3EE-037CB1844A09}">
      <dgm:prSet/>
      <dgm:spPr/>
      <dgm:t>
        <a:bodyPr/>
        <a:lstStyle/>
        <a:p>
          <a:endParaRPr lang="en-US"/>
        </a:p>
      </dgm:t>
    </dgm:pt>
    <dgm:pt modelId="{91CF07EE-6FA2-4815-B6C2-F552A7BB1C54}">
      <dgm:prSet/>
      <dgm:spPr/>
      <dgm:t>
        <a:bodyPr/>
        <a:lstStyle/>
        <a:p>
          <a:r>
            <a:rPr lang="en-US"/>
            <a:t>Enables </a:t>
          </a:r>
          <a:r>
            <a:rPr lang="en-US" b="1"/>
            <a:t>step</a:t>
          </a:r>
          <a:r>
            <a:rPr lang="en-US"/>
            <a:t> mode</a:t>
          </a:r>
        </a:p>
      </dgm:t>
    </dgm:pt>
    <dgm:pt modelId="{6CB30C4D-4A27-495F-A1A9-38077E3E9AC6}" type="parTrans" cxnId="{29160B10-0D6A-421F-85BF-057929FBEF63}">
      <dgm:prSet/>
      <dgm:spPr/>
      <dgm:t>
        <a:bodyPr/>
        <a:lstStyle/>
        <a:p>
          <a:endParaRPr lang="en-US"/>
        </a:p>
      </dgm:t>
    </dgm:pt>
    <dgm:pt modelId="{4E512E0B-DFC0-46A5-A4EF-7EF662A82495}" type="sibTrans" cxnId="{29160B10-0D6A-421F-85BF-057929FBEF63}">
      <dgm:prSet/>
      <dgm:spPr/>
      <dgm:t>
        <a:bodyPr/>
        <a:lstStyle/>
        <a:p>
          <a:endParaRPr lang="en-US"/>
        </a:p>
      </dgm:t>
    </dgm:pt>
    <dgm:pt modelId="{8459712C-9789-49D2-85FA-2CA410BA440E}" type="pres">
      <dgm:prSet presAssocID="{7E94A338-68DE-4B0C-971A-A8D49D3E51E6}" presName="vert0" presStyleCnt="0">
        <dgm:presLayoutVars>
          <dgm:dir/>
          <dgm:animOne val="branch"/>
          <dgm:animLvl val="lvl"/>
        </dgm:presLayoutVars>
      </dgm:prSet>
      <dgm:spPr/>
    </dgm:pt>
    <dgm:pt modelId="{6116F9B1-9ADA-4525-999E-3913B29DD68E}" type="pres">
      <dgm:prSet presAssocID="{5E58CB16-4F89-407A-B3DE-C38085622C4C}" presName="thickLine" presStyleLbl="alignNode1" presStyleIdx="0" presStyleCnt="4"/>
      <dgm:spPr/>
    </dgm:pt>
    <dgm:pt modelId="{47D247A5-472B-4DB6-A4FC-C6BE67C0A7C0}" type="pres">
      <dgm:prSet presAssocID="{5E58CB16-4F89-407A-B3DE-C38085622C4C}" presName="horz1" presStyleCnt="0"/>
      <dgm:spPr/>
    </dgm:pt>
    <dgm:pt modelId="{97D3BA8B-36E6-438C-B01F-C9AD64D87295}" type="pres">
      <dgm:prSet presAssocID="{5E58CB16-4F89-407A-B3DE-C38085622C4C}" presName="tx1" presStyleLbl="revTx" presStyleIdx="0" presStyleCnt="4"/>
      <dgm:spPr/>
    </dgm:pt>
    <dgm:pt modelId="{E41E5DDA-5B09-471E-8FBC-987B75D081EB}" type="pres">
      <dgm:prSet presAssocID="{5E58CB16-4F89-407A-B3DE-C38085622C4C}" presName="vert1" presStyleCnt="0"/>
      <dgm:spPr/>
    </dgm:pt>
    <dgm:pt modelId="{175F25EB-9DCF-43EB-896C-B71289B2D596}" type="pres">
      <dgm:prSet presAssocID="{D32A4597-89A4-4E97-9F0C-5B9D7F172799}" presName="thickLine" presStyleLbl="alignNode1" presStyleIdx="1" presStyleCnt="4"/>
      <dgm:spPr/>
    </dgm:pt>
    <dgm:pt modelId="{4F69AB2E-3DE9-4342-9CEB-CDF3E32F8EE8}" type="pres">
      <dgm:prSet presAssocID="{D32A4597-89A4-4E97-9F0C-5B9D7F172799}" presName="horz1" presStyleCnt="0"/>
      <dgm:spPr/>
    </dgm:pt>
    <dgm:pt modelId="{4ED660AE-25C0-48E9-A95E-57A7C086E6C7}" type="pres">
      <dgm:prSet presAssocID="{D32A4597-89A4-4E97-9F0C-5B9D7F172799}" presName="tx1" presStyleLbl="revTx" presStyleIdx="1" presStyleCnt="4"/>
      <dgm:spPr/>
    </dgm:pt>
    <dgm:pt modelId="{6B40E6D8-8A3C-427B-B152-43FC84A984DF}" type="pres">
      <dgm:prSet presAssocID="{D32A4597-89A4-4E97-9F0C-5B9D7F172799}" presName="vert1" presStyleCnt="0"/>
      <dgm:spPr/>
    </dgm:pt>
    <dgm:pt modelId="{8120E784-0D17-4284-8FEE-175D05773179}" type="pres">
      <dgm:prSet presAssocID="{D5931EE7-F699-44F1-9B88-025F746D418A}" presName="thickLine" presStyleLbl="alignNode1" presStyleIdx="2" presStyleCnt="4"/>
      <dgm:spPr/>
    </dgm:pt>
    <dgm:pt modelId="{0980D477-D9F5-45B0-8A6B-9404ADE1C911}" type="pres">
      <dgm:prSet presAssocID="{D5931EE7-F699-44F1-9B88-025F746D418A}" presName="horz1" presStyleCnt="0"/>
      <dgm:spPr/>
    </dgm:pt>
    <dgm:pt modelId="{1C5E4C85-C076-453A-85E6-AD38F39F5DBF}" type="pres">
      <dgm:prSet presAssocID="{D5931EE7-F699-44F1-9B88-025F746D418A}" presName="tx1" presStyleLbl="revTx" presStyleIdx="2" presStyleCnt="4"/>
      <dgm:spPr/>
    </dgm:pt>
    <dgm:pt modelId="{C3A549AB-CEAD-447D-85AB-0CEBE5532D5E}" type="pres">
      <dgm:prSet presAssocID="{D5931EE7-F699-44F1-9B88-025F746D418A}" presName="vert1" presStyleCnt="0"/>
      <dgm:spPr/>
    </dgm:pt>
    <dgm:pt modelId="{B8285F78-EEDC-429B-9E7F-5D3F7656C2A5}" type="pres">
      <dgm:prSet presAssocID="{91CF07EE-6FA2-4815-B6C2-F552A7BB1C54}" presName="thickLine" presStyleLbl="alignNode1" presStyleIdx="3" presStyleCnt="4"/>
      <dgm:spPr/>
    </dgm:pt>
    <dgm:pt modelId="{3AD8100E-4B6B-4718-80EB-1773C37158AE}" type="pres">
      <dgm:prSet presAssocID="{91CF07EE-6FA2-4815-B6C2-F552A7BB1C54}" presName="horz1" presStyleCnt="0"/>
      <dgm:spPr/>
    </dgm:pt>
    <dgm:pt modelId="{B22ADC40-4E66-4DFC-B680-8EF69846BEA2}" type="pres">
      <dgm:prSet presAssocID="{91CF07EE-6FA2-4815-B6C2-F552A7BB1C54}" presName="tx1" presStyleLbl="revTx" presStyleIdx="3" presStyleCnt="4"/>
      <dgm:spPr/>
    </dgm:pt>
    <dgm:pt modelId="{E243D9F3-A5DC-4843-AB38-DD3F061BC457}" type="pres">
      <dgm:prSet presAssocID="{91CF07EE-6FA2-4815-B6C2-F552A7BB1C54}" presName="vert1" presStyleCnt="0"/>
      <dgm:spPr/>
    </dgm:pt>
  </dgm:ptLst>
  <dgm:cxnLst>
    <dgm:cxn modelId="{29160B10-0D6A-421F-85BF-057929FBEF63}" srcId="{7E94A338-68DE-4B0C-971A-A8D49D3E51E6}" destId="{91CF07EE-6FA2-4815-B6C2-F552A7BB1C54}" srcOrd="3" destOrd="0" parTransId="{6CB30C4D-4A27-495F-A1A9-38077E3E9AC6}" sibTransId="{4E512E0B-DFC0-46A5-A4EF-7EF662A82495}"/>
    <dgm:cxn modelId="{AC45E538-F4F2-4E88-9C3F-00330900B09E}" type="presOf" srcId="{91CF07EE-6FA2-4815-B6C2-F552A7BB1C54}" destId="{B22ADC40-4E66-4DFC-B680-8EF69846BEA2}" srcOrd="0" destOrd="0" presId="urn:microsoft.com/office/officeart/2008/layout/LinedList"/>
    <dgm:cxn modelId="{9C67A239-6682-43A7-8C3E-5D0C30ADBE10}" type="presOf" srcId="{7E94A338-68DE-4B0C-971A-A8D49D3E51E6}" destId="{8459712C-9789-49D2-85FA-2CA410BA440E}" srcOrd="0" destOrd="0" presId="urn:microsoft.com/office/officeart/2008/layout/LinedList"/>
    <dgm:cxn modelId="{497D8761-E123-4329-B4EF-EC91027D07C3}" type="presOf" srcId="{D5931EE7-F699-44F1-9B88-025F746D418A}" destId="{1C5E4C85-C076-453A-85E6-AD38F39F5DBF}" srcOrd="0" destOrd="0" presId="urn:microsoft.com/office/officeart/2008/layout/LinedList"/>
    <dgm:cxn modelId="{5722ED64-CEBF-4417-A3EE-037CB1844A09}" srcId="{7E94A338-68DE-4B0C-971A-A8D49D3E51E6}" destId="{D5931EE7-F699-44F1-9B88-025F746D418A}" srcOrd="2" destOrd="0" parTransId="{1223EA2B-93BA-42A2-8D90-568888411D55}" sibTransId="{DBB8A6FD-EE57-45C1-AC2C-44C55ECE0718}"/>
    <dgm:cxn modelId="{8846F164-8C6D-4B16-84CD-155BAD7405B8}" type="presOf" srcId="{5E58CB16-4F89-407A-B3DE-C38085622C4C}" destId="{97D3BA8B-36E6-438C-B01F-C9AD64D87295}" srcOrd="0" destOrd="0" presId="urn:microsoft.com/office/officeart/2008/layout/LinedList"/>
    <dgm:cxn modelId="{24AFD891-E45B-43D3-A24B-4C2E05852E29}" srcId="{7E94A338-68DE-4B0C-971A-A8D49D3E51E6}" destId="{5E58CB16-4F89-407A-B3DE-C38085622C4C}" srcOrd="0" destOrd="0" parTransId="{B515A74B-859E-4274-8D67-94E93CB8D556}" sibTransId="{F99C8DFF-425A-48CC-A0ED-62264A99311D}"/>
    <dgm:cxn modelId="{0DEB809B-4892-4A62-BCD3-E971B7A3315D}" type="presOf" srcId="{D32A4597-89A4-4E97-9F0C-5B9D7F172799}" destId="{4ED660AE-25C0-48E9-A95E-57A7C086E6C7}" srcOrd="0" destOrd="0" presId="urn:microsoft.com/office/officeart/2008/layout/LinedList"/>
    <dgm:cxn modelId="{A376BFF9-8F1A-49ED-9A41-E83568E67A30}" srcId="{7E94A338-68DE-4B0C-971A-A8D49D3E51E6}" destId="{D32A4597-89A4-4E97-9F0C-5B9D7F172799}" srcOrd="1" destOrd="0" parTransId="{B22E3119-2CEA-42C0-9D39-97620882F31A}" sibTransId="{E8664771-0B94-4EF9-8761-A53B692001AE}"/>
    <dgm:cxn modelId="{04553C19-A7FC-44B6-97C5-6B075374487F}" type="presParOf" srcId="{8459712C-9789-49D2-85FA-2CA410BA440E}" destId="{6116F9B1-9ADA-4525-999E-3913B29DD68E}" srcOrd="0" destOrd="0" presId="urn:microsoft.com/office/officeart/2008/layout/LinedList"/>
    <dgm:cxn modelId="{C6E9E6C9-EC82-494C-ACE1-C296F3D576DD}" type="presParOf" srcId="{8459712C-9789-49D2-85FA-2CA410BA440E}" destId="{47D247A5-472B-4DB6-A4FC-C6BE67C0A7C0}" srcOrd="1" destOrd="0" presId="urn:microsoft.com/office/officeart/2008/layout/LinedList"/>
    <dgm:cxn modelId="{656B120C-924C-4D68-AEC4-058A99028790}" type="presParOf" srcId="{47D247A5-472B-4DB6-A4FC-C6BE67C0A7C0}" destId="{97D3BA8B-36E6-438C-B01F-C9AD64D87295}" srcOrd="0" destOrd="0" presId="urn:microsoft.com/office/officeart/2008/layout/LinedList"/>
    <dgm:cxn modelId="{3AB7DBC5-8E45-49B5-9217-E95F0EBE7252}" type="presParOf" srcId="{47D247A5-472B-4DB6-A4FC-C6BE67C0A7C0}" destId="{E41E5DDA-5B09-471E-8FBC-987B75D081EB}" srcOrd="1" destOrd="0" presId="urn:microsoft.com/office/officeart/2008/layout/LinedList"/>
    <dgm:cxn modelId="{7A3B4BBB-B336-4AB2-B651-3C71E25A2D2C}" type="presParOf" srcId="{8459712C-9789-49D2-85FA-2CA410BA440E}" destId="{175F25EB-9DCF-43EB-896C-B71289B2D596}" srcOrd="2" destOrd="0" presId="urn:microsoft.com/office/officeart/2008/layout/LinedList"/>
    <dgm:cxn modelId="{70116E22-0066-4A01-A2FF-3FCC7155B31D}" type="presParOf" srcId="{8459712C-9789-49D2-85FA-2CA410BA440E}" destId="{4F69AB2E-3DE9-4342-9CEB-CDF3E32F8EE8}" srcOrd="3" destOrd="0" presId="urn:microsoft.com/office/officeart/2008/layout/LinedList"/>
    <dgm:cxn modelId="{4F23B4D9-77D0-48A2-B0D5-9DCC5F7F8FCF}" type="presParOf" srcId="{4F69AB2E-3DE9-4342-9CEB-CDF3E32F8EE8}" destId="{4ED660AE-25C0-48E9-A95E-57A7C086E6C7}" srcOrd="0" destOrd="0" presId="urn:microsoft.com/office/officeart/2008/layout/LinedList"/>
    <dgm:cxn modelId="{4A40DD2B-ABE8-4420-878A-B2DEA6286C5A}" type="presParOf" srcId="{4F69AB2E-3DE9-4342-9CEB-CDF3E32F8EE8}" destId="{6B40E6D8-8A3C-427B-B152-43FC84A984DF}" srcOrd="1" destOrd="0" presId="urn:microsoft.com/office/officeart/2008/layout/LinedList"/>
    <dgm:cxn modelId="{28C85C93-AB0A-4E9B-8CA9-A33B735CCE11}" type="presParOf" srcId="{8459712C-9789-49D2-85FA-2CA410BA440E}" destId="{8120E784-0D17-4284-8FEE-175D05773179}" srcOrd="4" destOrd="0" presId="urn:microsoft.com/office/officeart/2008/layout/LinedList"/>
    <dgm:cxn modelId="{DF218999-353A-4653-9FD5-A2019D052D6E}" type="presParOf" srcId="{8459712C-9789-49D2-85FA-2CA410BA440E}" destId="{0980D477-D9F5-45B0-8A6B-9404ADE1C911}" srcOrd="5" destOrd="0" presId="urn:microsoft.com/office/officeart/2008/layout/LinedList"/>
    <dgm:cxn modelId="{5EF46271-6969-478D-BC4A-0F5CCF9E5510}" type="presParOf" srcId="{0980D477-D9F5-45B0-8A6B-9404ADE1C911}" destId="{1C5E4C85-C076-453A-85E6-AD38F39F5DBF}" srcOrd="0" destOrd="0" presId="urn:microsoft.com/office/officeart/2008/layout/LinedList"/>
    <dgm:cxn modelId="{7817E855-C7B5-4F21-8B3E-0CC581DEA77E}" type="presParOf" srcId="{0980D477-D9F5-45B0-8A6B-9404ADE1C911}" destId="{C3A549AB-CEAD-447D-85AB-0CEBE5532D5E}" srcOrd="1" destOrd="0" presId="urn:microsoft.com/office/officeart/2008/layout/LinedList"/>
    <dgm:cxn modelId="{C1269A8C-7804-41A0-87F6-9D2CB5F3B7E8}" type="presParOf" srcId="{8459712C-9789-49D2-85FA-2CA410BA440E}" destId="{B8285F78-EEDC-429B-9E7F-5D3F7656C2A5}" srcOrd="6" destOrd="0" presId="urn:microsoft.com/office/officeart/2008/layout/LinedList"/>
    <dgm:cxn modelId="{05677EA4-8A94-4279-A367-200A45A843FA}" type="presParOf" srcId="{8459712C-9789-49D2-85FA-2CA410BA440E}" destId="{3AD8100E-4B6B-4718-80EB-1773C37158AE}" srcOrd="7" destOrd="0" presId="urn:microsoft.com/office/officeart/2008/layout/LinedList"/>
    <dgm:cxn modelId="{7A08E801-766A-4C13-BCA8-266981B74CC3}" type="presParOf" srcId="{3AD8100E-4B6B-4718-80EB-1773C37158AE}" destId="{B22ADC40-4E66-4DFC-B680-8EF69846BEA2}" srcOrd="0" destOrd="0" presId="urn:microsoft.com/office/officeart/2008/layout/LinedList"/>
    <dgm:cxn modelId="{277D3220-0C97-4CC1-87EF-ED20A0741961}" type="presParOf" srcId="{3AD8100E-4B6B-4718-80EB-1773C37158AE}" destId="{E243D9F3-A5DC-4843-AB38-DD3F061BC457}" srcOrd="1" destOrd="0" presId="urn:microsoft.com/office/officeart/2008/layout/Lin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866B3A87-0809-477B-BAE5-3E92D37E7ABB}"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270CD8D9-22B5-4024-8F0E-93B931F5DF65}">
      <dgm:prSet custT="1"/>
      <dgm:spPr/>
      <dgm:t>
        <a:bodyPr/>
        <a:lstStyle/>
        <a:p>
          <a:r>
            <a:rPr lang="en-US" sz="2400"/>
            <a:t>Convenient Variables</a:t>
          </a:r>
        </a:p>
      </dgm:t>
    </dgm:pt>
    <dgm:pt modelId="{C3C63130-2D9E-47A9-B8BE-1C44125B8201}" type="parTrans" cxnId="{53FB4EA4-4F9A-4B29-BDF9-C79A9E38E242}">
      <dgm:prSet/>
      <dgm:spPr/>
      <dgm:t>
        <a:bodyPr/>
        <a:lstStyle/>
        <a:p>
          <a:endParaRPr lang="en-US"/>
        </a:p>
      </dgm:t>
    </dgm:pt>
    <dgm:pt modelId="{EC841D98-CDB1-4739-9489-A07127439F4D}" type="sibTrans" cxnId="{53FB4EA4-4F9A-4B29-BDF9-C79A9E38E242}">
      <dgm:prSet/>
      <dgm:spPr/>
      <dgm:t>
        <a:bodyPr/>
        <a:lstStyle/>
        <a:p>
          <a:endParaRPr lang="en-US"/>
        </a:p>
      </dgm:t>
    </dgm:pt>
    <dgm:pt modelId="{266795D0-EC8C-4CA8-806A-56BF89E606C0}">
      <dgm:prSet custT="1"/>
      <dgm:spPr/>
      <dgm:t>
        <a:bodyPr/>
        <a:lstStyle/>
        <a:p>
          <a:r>
            <a:rPr lang="en-US" sz="2400"/>
            <a:t>Call Stack Window</a:t>
          </a:r>
        </a:p>
      </dgm:t>
    </dgm:pt>
    <dgm:pt modelId="{ACB9E676-4EC5-463F-9B3A-C68B34A0E42E}" type="parTrans" cxnId="{A222B39A-B1C9-44A2-8590-A19AE3C96AD7}">
      <dgm:prSet/>
      <dgm:spPr/>
      <dgm:t>
        <a:bodyPr/>
        <a:lstStyle/>
        <a:p>
          <a:endParaRPr lang="en-US"/>
        </a:p>
      </dgm:t>
    </dgm:pt>
    <dgm:pt modelId="{34BECC33-CEC2-48F4-8AD5-78829DEAC51B}" type="sibTrans" cxnId="{A222B39A-B1C9-44A2-8590-A19AE3C96AD7}">
      <dgm:prSet/>
      <dgm:spPr/>
      <dgm:t>
        <a:bodyPr/>
        <a:lstStyle/>
        <a:p>
          <a:endParaRPr lang="en-US"/>
        </a:p>
      </dgm:t>
    </dgm:pt>
    <dgm:pt modelId="{AEA38551-CC5F-4A63-A571-C0769CB2F872}">
      <dgm:prSet custT="1"/>
      <dgm:spPr/>
      <dgm:t>
        <a:bodyPr/>
        <a:lstStyle/>
        <a:p>
          <a:r>
            <a:rPr lang="en-US" sz="2400"/>
            <a:t>Conditional Breakpoints</a:t>
          </a:r>
        </a:p>
      </dgm:t>
    </dgm:pt>
    <dgm:pt modelId="{8B8A4889-0E5B-42BC-9AFA-5B82F5B25103}" type="parTrans" cxnId="{283A05C0-8CEE-4EF2-8BB5-C80B2482AA5D}">
      <dgm:prSet/>
      <dgm:spPr/>
      <dgm:t>
        <a:bodyPr/>
        <a:lstStyle/>
        <a:p>
          <a:endParaRPr lang="en-US"/>
        </a:p>
      </dgm:t>
    </dgm:pt>
    <dgm:pt modelId="{6B3D1A68-E023-4ABD-A17D-953396359F6F}" type="sibTrans" cxnId="{283A05C0-8CEE-4EF2-8BB5-C80B2482AA5D}">
      <dgm:prSet/>
      <dgm:spPr/>
      <dgm:t>
        <a:bodyPr/>
        <a:lstStyle/>
        <a:p>
          <a:endParaRPr lang="en-US"/>
        </a:p>
      </dgm:t>
    </dgm:pt>
    <dgm:pt modelId="{63D979A4-4819-4D91-BFCB-FB80383E2E6D}">
      <dgm:prSet custT="1"/>
      <dgm:spPr/>
      <dgm:t>
        <a:bodyPr/>
        <a:lstStyle/>
        <a:p>
          <a:r>
            <a:rPr lang="en-US" sz="2400"/>
            <a:t>Monitor specific properties</a:t>
          </a:r>
        </a:p>
      </dgm:t>
    </dgm:pt>
    <dgm:pt modelId="{A86C5836-96F0-42F6-AA9D-551FD14CFA0E}" type="parTrans" cxnId="{D15B05E9-BE3B-40DF-8700-72CA98729F2E}">
      <dgm:prSet/>
      <dgm:spPr/>
      <dgm:t>
        <a:bodyPr/>
        <a:lstStyle/>
        <a:p>
          <a:endParaRPr lang="en-US"/>
        </a:p>
      </dgm:t>
    </dgm:pt>
    <dgm:pt modelId="{4B97FE65-7A34-474B-BCBF-A9F008328245}" type="sibTrans" cxnId="{D15B05E9-BE3B-40DF-8700-72CA98729F2E}">
      <dgm:prSet/>
      <dgm:spPr/>
      <dgm:t>
        <a:bodyPr/>
        <a:lstStyle/>
        <a:p>
          <a:endParaRPr lang="en-US"/>
        </a:p>
      </dgm:t>
    </dgm:pt>
    <dgm:pt modelId="{843300CD-00A1-4B66-90A9-1A77FF3022FB}">
      <dgm:prSet custT="1"/>
      <dgm:spPr/>
      <dgm:t>
        <a:bodyPr/>
        <a:lstStyle/>
        <a:p>
          <a:r>
            <a:rPr lang="en-US" sz="2400"/>
            <a:t>Mouseover object info</a:t>
          </a:r>
        </a:p>
      </dgm:t>
    </dgm:pt>
    <dgm:pt modelId="{91210294-FA9C-4AC7-BCB4-1FE364E1A70B}" type="parTrans" cxnId="{515E20FD-CCDC-4618-A408-F4B6CB27EFAE}">
      <dgm:prSet/>
      <dgm:spPr/>
      <dgm:t>
        <a:bodyPr/>
        <a:lstStyle/>
        <a:p>
          <a:endParaRPr lang="en-US"/>
        </a:p>
      </dgm:t>
    </dgm:pt>
    <dgm:pt modelId="{33EC35D4-1C54-47F4-98C0-9F614E45F2B8}" type="sibTrans" cxnId="{515E20FD-CCDC-4618-A408-F4B6CB27EFAE}">
      <dgm:prSet/>
      <dgm:spPr/>
      <dgm:t>
        <a:bodyPr/>
        <a:lstStyle/>
        <a:p>
          <a:endParaRPr lang="en-US"/>
        </a:p>
      </dgm:t>
    </dgm:pt>
    <dgm:pt modelId="{BC03CEAB-61C6-43D5-B838-C421E6639DC2}">
      <dgm:prSet custT="1"/>
      <dgm:spPr/>
      <dgm:t>
        <a:bodyPr/>
        <a:lstStyle/>
        <a:p>
          <a:r>
            <a:rPr lang="en-US" sz="2400"/>
            <a:t>Watch Window</a:t>
          </a:r>
        </a:p>
      </dgm:t>
    </dgm:pt>
    <dgm:pt modelId="{B27C5525-7B72-41C2-84A3-222EFFC3E6AE}" type="parTrans" cxnId="{EDFFA6C6-F3CA-4625-B0F9-F9A24FD01152}">
      <dgm:prSet/>
      <dgm:spPr/>
      <dgm:t>
        <a:bodyPr/>
        <a:lstStyle/>
        <a:p>
          <a:endParaRPr lang="en-US"/>
        </a:p>
      </dgm:t>
    </dgm:pt>
    <dgm:pt modelId="{E11F7545-B7EA-40E3-B087-3F69B599BA95}" type="sibTrans" cxnId="{EDFFA6C6-F3CA-4625-B0F9-F9A24FD01152}">
      <dgm:prSet/>
      <dgm:spPr/>
      <dgm:t>
        <a:bodyPr/>
        <a:lstStyle/>
        <a:p>
          <a:endParaRPr lang="en-US"/>
        </a:p>
      </dgm:t>
    </dgm:pt>
    <dgm:pt modelId="{05174A02-5903-426D-BBDF-BA2E5FC619D3}">
      <dgm:prSet custT="1"/>
      <dgm:spPr/>
      <dgm:t>
        <a:bodyPr/>
        <a:lstStyle/>
        <a:p>
          <a:r>
            <a:rPr lang="en-US" sz="2400"/>
            <a:t>Same core capabilities as ISE</a:t>
          </a:r>
        </a:p>
      </dgm:t>
    </dgm:pt>
    <dgm:pt modelId="{20A94358-6926-4D8B-BF69-2F27B028AA43}" type="parTrans" cxnId="{B02A0C6A-0CFB-454E-AC2A-25845BE8A413}">
      <dgm:prSet/>
      <dgm:spPr/>
      <dgm:t>
        <a:bodyPr/>
        <a:lstStyle/>
        <a:p>
          <a:endParaRPr lang="en-US"/>
        </a:p>
      </dgm:t>
    </dgm:pt>
    <dgm:pt modelId="{87AD129D-039B-4C3D-904D-6AFD2449F8E8}" type="sibTrans" cxnId="{B02A0C6A-0CFB-454E-AC2A-25845BE8A413}">
      <dgm:prSet/>
      <dgm:spPr/>
      <dgm:t>
        <a:bodyPr/>
        <a:lstStyle/>
        <a:p>
          <a:endParaRPr lang="en-US"/>
        </a:p>
      </dgm:t>
    </dgm:pt>
    <dgm:pt modelId="{0965ACBC-4AB2-41E1-94FB-ABC9A8417ADB}" type="pres">
      <dgm:prSet presAssocID="{866B3A87-0809-477B-BAE5-3E92D37E7ABB}" presName="linear" presStyleCnt="0">
        <dgm:presLayoutVars>
          <dgm:animLvl val="lvl"/>
          <dgm:resizeHandles val="exact"/>
        </dgm:presLayoutVars>
      </dgm:prSet>
      <dgm:spPr/>
    </dgm:pt>
    <dgm:pt modelId="{0D73BE67-3514-42FB-AD66-837DEB4D555A}" type="pres">
      <dgm:prSet presAssocID="{05174A02-5903-426D-BBDF-BA2E5FC619D3}" presName="parentText" presStyleLbl="node1" presStyleIdx="0" presStyleCnt="4">
        <dgm:presLayoutVars>
          <dgm:chMax val="0"/>
          <dgm:bulletEnabled val="1"/>
        </dgm:presLayoutVars>
      </dgm:prSet>
      <dgm:spPr/>
    </dgm:pt>
    <dgm:pt modelId="{2356CDBE-6CA9-4FFA-BFC1-0F7906474EEB}" type="pres">
      <dgm:prSet presAssocID="{87AD129D-039B-4C3D-904D-6AFD2449F8E8}" presName="spacer" presStyleCnt="0"/>
      <dgm:spPr/>
    </dgm:pt>
    <dgm:pt modelId="{D3DBE716-B0AA-450B-8458-A88C6DAA66F4}" type="pres">
      <dgm:prSet presAssocID="{270CD8D9-22B5-4024-8F0E-93B931F5DF65}" presName="parentText" presStyleLbl="node1" presStyleIdx="1" presStyleCnt="4">
        <dgm:presLayoutVars>
          <dgm:chMax val="0"/>
          <dgm:bulletEnabled val="1"/>
        </dgm:presLayoutVars>
      </dgm:prSet>
      <dgm:spPr/>
    </dgm:pt>
    <dgm:pt modelId="{183F3790-0143-4DF3-80FB-E87333C15F0F}" type="pres">
      <dgm:prSet presAssocID="{270CD8D9-22B5-4024-8F0E-93B931F5DF65}" presName="childText" presStyleLbl="revTx" presStyleIdx="0" presStyleCnt="1">
        <dgm:presLayoutVars>
          <dgm:bulletEnabled val="1"/>
        </dgm:presLayoutVars>
      </dgm:prSet>
      <dgm:spPr/>
    </dgm:pt>
    <dgm:pt modelId="{13A2AFB5-0EB3-40B7-B822-C94D61C17735}" type="pres">
      <dgm:prSet presAssocID="{266795D0-EC8C-4CA8-806A-56BF89E606C0}" presName="parentText" presStyleLbl="node1" presStyleIdx="2" presStyleCnt="4">
        <dgm:presLayoutVars>
          <dgm:chMax val="0"/>
          <dgm:bulletEnabled val="1"/>
        </dgm:presLayoutVars>
      </dgm:prSet>
      <dgm:spPr/>
    </dgm:pt>
    <dgm:pt modelId="{617A4A05-50D6-4D01-A7B4-93BDC88F31AD}" type="pres">
      <dgm:prSet presAssocID="{34BECC33-CEC2-48F4-8AD5-78829DEAC51B}" presName="spacer" presStyleCnt="0"/>
      <dgm:spPr/>
    </dgm:pt>
    <dgm:pt modelId="{1DE3EC98-DC64-4E4E-A3E4-F22AE7356EDE}" type="pres">
      <dgm:prSet presAssocID="{AEA38551-CC5F-4A63-A571-C0769CB2F872}" presName="parentText" presStyleLbl="node1" presStyleIdx="3" presStyleCnt="4">
        <dgm:presLayoutVars>
          <dgm:chMax val="0"/>
          <dgm:bulletEnabled val="1"/>
        </dgm:presLayoutVars>
      </dgm:prSet>
      <dgm:spPr/>
    </dgm:pt>
  </dgm:ptLst>
  <dgm:cxnLst>
    <dgm:cxn modelId="{2F92251B-A762-4C74-8503-F5C0E9ADE148}" type="presOf" srcId="{63D979A4-4819-4D91-BFCB-FB80383E2E6D}" destId="{183F3790-0143-4DF3-80FB-E87333C15F0F}" srcOrd="0" destOrd="1" presId="urn:microsoft.com/office/officeart/2005/8/layout/vList2"/>
    <dgm:cxn modelId="{4024F566-7723-4E9E-A2B8-A838C7D03E9E}" type="presOf" srcId="{AEA38551-CC5F-4A63-A571-C0769CB2F872}" destId="{1DE3EC98-DC64-4E4E-A3E4-F22AE7356EDE}" srcOrd="0" destOrd="0" presId="urn:microsoft.com/office/officeart/2005/8/layout/vList2"/>
    <dgm:cxn modelId="{4FF95048-DE13-4CB5-ABB8-33E0F8775099}" type="presOf" srcId="{266795D0-EC8C-4CA8-806A-56BF89E606C0}" destId="{13A2AFB5-0EB3-40B7-B822-C94D61C17735}" srcOrd="0" destOrd="0" presId="urn:microsoft.com/office/officeart/2005/8/layout/vList2"/>
    <dgm:cxn modelId="{B02A0C6A-0CFB-454E-AC2A-25845BE8A413}" srcId="{866B3A87-0809-477B-BAE5-3E92D37E7ABB}" destId="{05174A02-5903-426D-BBDF-BA2E5FC619D3}" srcOrd="0" destOrd="0" parTransId="{20A94358-6926-4D8B-BF69-2F27B028AA43}" sibTransId="{87AD129D-039B-4C3D-904D-6AFD2449F8E8}"/>
    <dgm:cxn modelId="{FAA6E77B-83E6-44E4-806D-31928268C3AC}" type="presOf" srcId="{270CD8D9-22B5-4024-8F0E-93B931F5DF65}" destId="{D3DBE716-B0AA-450B-8458-A88C6DAA66F4}" srcOrd="0" destOrd="0" presId="urn:microsoft.com/office/officeart/2005/8/layout/vList2"/>
    <dgm:cxn modelId="{EA3EDA8B-1B97-45A5-81AE-02102D10F1FB}" type="presOf" srcId="{BC03CEAB-61C6-43D5-B838-C421E6639DC2}" destId="{183F3790-0143-4DF3-80FB-E87333C15F0F}" srcOrd="0" destOrd="0" presId="urn:microsoft.com/office/officeart/2005/8/layout/vList2"/>
    <dgm:cxn modelId="{A222B39A-B1C9-44A2-8590-A19AE3C96AD7}" srcId="{866B3A87-0809-477B-BAE5-3E92D37E7ABB}" destId="{266795D0-EC8C-4CA8-806A-56BF89E606C0}" srcOrd="2" destOrd="0" parTransId="{ACB9E676-4EC5-463F-9B3A-C68B34A0E42E}" sibTransId="{34BECC33-CEC2-48F4-8AD5-78829DEAC51B}"/>
    <dgm:cxn modelId="{53FB4EA4-4F9A-4B29-BDF9-C79A9E38E242}" srcId="{866B3A87-0809-477B-BAE5-3E92D37E7ABB}" destId="{270CD8D9-22B5-4024-8F0E-93B931F5DF65}" srcOrd="1" destOrd="0" parTransId="{C3C63130-2D9E-47A9-B8BE-1C44125B8201}" sibTransId="{EC841D98-CDB1-4739-9489-A07127439F4D}"/>
    <dgm:cxn modelId="{904459AA-648B-42A2-98AC-47A500C6058C}" type="presOf" srcId="{866B3A87-0809-477B-BAE5-3E92D37E7ABB}" destId="{0965ACBC-4AB2-41E1-94FB-ABC9A8417ADB}" srcOrd="0" destOrd="0" presId="urn:microsoft.com/office/officeart/2005/8/layout/vList2"/>
    <dgm:cxn modelId="{2CD899AB-97F9-44A0-B526-77DFDC9B04B7}" type="presOf" srcId="{05174A02-5903-426D-BBDF-BA2E5FC619D3}" destId="{0D73BE67-3514-42FB-AD66-837DEB4D555A}" srcOrd="0" destOrd="0" presId="urn:microsoft.com/office/officeart/2005/8/layout/vList2"/>
    <dgm:cxn modelId="{283A05C0-8CEE-4EF2-8BB5-C80B2482AA5D}" srcId="{866B3A87-0809-477B-BAE5-3E92D37E7ABB}" destId="{AEA38551-CC5F-4A63-A571-C0769CB2F872}" srcOrd="3" destOrd="0" parTransId="{8B8A4889-0E5B-42BC-9AFA-5B82F5B25103}" sibTransId="{6B3D1A68-E023-4ABD-A17D-953396359F6F}"/>
    <dgm:cxn modelId="{EDFFA6C6-F3CA-4625-B0F9-F9A24FD01152}" srcId="{270CD8D9-22B5-4024-8F0E-93B931F5DF65}" destId="{BC03CEAB-61C6-43D5-B838-C421E6639DC2}" srcOrd="0" destOrd="0" parTransId="{B27C5525-7B72-41C2-84A3-222EFFC3E6AE}" sibTransId="{E11F7545-B7EA-40E3-B087-3F69B599BA95}"/>
    <dgm:cxn modelId="{D82AADCB-35CC-4D4F-9539-96545E9BA5A0}" type="presOf" srcId="{843300CD-00A1-4B66-90A9-1A77FF3022FB}" destId="{183F3790-0143-4DF3-80FB-E87333C15F0F}" srcOrd="0" destOrd="2" presId="urn:microsoft.com/office/officeart/2005/8/layout/vList2"/>
    <dgm:cxn modelId="{D15B05E9-BE3B-40DF-8700-72CA98729F2E}" srcId="{270CD8D9-22B5-4024-8F0E-93B931F5DF65}" destId="{63D979A4-4819-4D91-BFCB-FB80383E2E6D}" srcOrd="1" destOrd="0" parTransId="{A86C5836-96F0-42F6-AA9D-551FD14CFA0E}" sibTransId="{4B97FE65-7A34-474B-BCBF-A9F008328245}"/>
    <dgm:cxn modelId="{515E20FD-CCDC-4618-A408-F4B6CB27EFAE}" srcId="{270CD8D9-22B5-4024-8F0E-93B931F5DF65}" destId="{843300CD-00A1-4B66-90A9-1A77FF3022FB}" srcOrd="2" destOrd="0" parTransId="{91210294-FA9C-4AC7-BCB4-1FE364E1A70B}" sibTransId="{33EC35D4-1C54-47F4-98C0-9F614E45F2B8}"/>
    <dgm:cxn modelId="{2238412A-5588-4E02-B9F0-AA8816E1FCFD}" type="presParOf" srcId="{0965ACBC-4AB2-41E1-94FB-ABC9A8417ADB}" destId="{0D73BE67-3514-42FB-AD66-837DEB4D555A}" srcOrd="0" destOrd="0" presId="urn:microsoft.com/office/officeart/2005/8/layout/vList2"/>
    <dgm:cxn modelId="{3EFBA29E-8B43-43AD-B3B3-B5A6E2151862}" type="presParOf" srcId="{0965ACBC-4AB2-41E1-94FB-ABC9A8417ADB}" destId="{2356CDBE-6CA9-4FFA-BFC1-0F7906474EEB}" srcOrd="1" destOrd="0" presId="urn:microsoft.com/office/officeart/2005/8/layout/vList2"/>
    <dgm:cxn modelId="{A49A1C56-4C20-42FA-BBC6-5ADECE3F93E0}" type="presParOf" srcId="{0965ACBC-4AB2-41E1-94FB-ABC9A8417ADB}" destId="{D3DBE716-B0AA-450B-8458-A88C6DAA66F4}" srcOrd="2" destOrd="0" presId="urn:microsoft.com/office/officeart/2005/8/layout/vList2"/>
    <dgm:cxn modelId="{6844AE6A-E01B-4C04-B844-4CE7A3B99B09}" type="presParOf" srcId="{0965ACBC-4AB2-41E1-94FB-ABC9A8417ADB}" destId="{183F3790-0143-4DF3-80FB-E87333C15F0F}" srcOrd="3" destOrd="0" presId="urn:microsoft.com/office/officeart/2005/8/layout/vList2"/>
    <dgm:cxn modelId="{B305D5CE-9CF6-460E-9AA0-CEDD84B30749}" type="presParOf" srcId="{0965ACBC-4AB2-41E1-94FB-ABC9A8417ADB}" destId="{13A2AFB5-0EB3-40B7-B822-C94D61C17735}" srcOrd="4" destOrd="0" presId="urn:microsoft.com/office/officeart/2005/8/layout/vList2"/>
    <dgm:cxn modelId="{E59E955F-E34F-4581-80E2-2484F105E1BA}" type="presParOf" srcId="{0965ACBC-4AB2-41E1-94FB-ABC9A8417ADB}" destId="{617A4A05-50D6-4D01-A7B4-93BDC88F31AD}" srcOrd="5" destOrd="0" presId="urn:microsoft.com/office/officeart/2005/8/layout/vList2"/>
    <dgm:cxn modelId="{D3433B4F-71C2-441F-9760-0BC84D81938D}" type="presParOf" srcId="{0965ACBC-4AB2-41E1-94FB-ABC9A8417ADB}" destId="{1DE3EC98-DC64-4E4E-A3E4-F22AE7356EDE}"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6DFC28B-046E-46BF-ABEF-813E86E38D9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9BF002BB-57E5-4B8B-AB95-8DD530A7A541}">
      <dgm:prSet custT="1"/>
      <dgm:spPr/>
      <dgm:t>
        <a:bodyPr/>
        <a:lstStyle/>
        <a:p>
          <a:pPr algn="ctr"/>
          <a:r>
            <a:rPr lang="en-US" sz="2800"/>
            <a:t>Process of </a:t>
          </a:r>
          <a:r>
            <a:rPr lang="en-US" sz="2800" b="1"/>
            <a:t>identifying</a:t>
          </a:r>
          <a:r>
            <a:rPr lang="en-US" sz="2800"/>
            <a:t> and </a:t>
          </a:r>
          <a:r>
            <a:rPr lang="en-US" sz="2800" b="1"/>
            <a:t>removing</a:t>
          </a:r>
          <a:r>
            <a:rPr lang="en-US" sz="2800"/>
            <a:t> errors</a:t>
          </a:r>
        </a:p>
      </dgm:t>
    </dgm:pt>
    <dgm:pt modelId="{15390401-3DCF-445F-84AA-4F4564DA73C2}" type="parTrans" cxnId="{3CFF4FFD-6C02-48A5-B8E1-85816C705159}">
      <dgm:prSet/>
      <dgm:spPr/>
      <dgm:t>
        <a:bodyPr/>
        <a:lstStyle/>
        <a:p>
          <a:pPr algn="ctr"/>
          <a:endParaRPr lang="en-US" sz="2800"/>
        </a:p>
      </dgm:t>
    </dgm:pt>
    <dgm:pt modelId="{EF2A19F7-2B23-432A-A34E-1DF3EF911DB6}" type="sibTrans" cxnId="{3CFF4FFD-6C02-48A5-B8E1-85816C705159}">
      <dgm:prSet/>
      <dgm:spPr/>
      <dgm:t>
        <a:bodyPr/>
        <a:lstStyle/>
        <a:p>
          <a:pPr algn="ctr"/>
          <a:endParaRPr lang="en-US" sz="2800"/>
        </a:p>
      </dgm:t>
    </dgm:pt>
    <dgm:pt modelId="{20BC18BA-5300-4A9C-BB58-8BCB163E1A75}">
      <dgm:prSet custT="1"/>
      <dgm:spPr/>
      <dgm:t>
        <a:bodyPr/>
        <a:lstStyle/>
        <a:p>
          <a:pPr algn="ctr"/>
          <a:r>
            <a:rPr lang="en-US" sz="2800" b="1"/>
            <a:t>Interactive</a:t>
          </a:r>
          <a:r>
            <a:rPr lang="en-US" sz="2800"/>
            <a:t> investigation</a:t>
          </a:r>
        </a:p>
      </dgm:t>
    </dgm:pt>
    <dgm:pt modelId="{49936573-11E1-4BF3-B307-28EE68BA8E61}" type="parTrans" cxnId="{F4A982C1-D894-41CD-8584-110F3EF63A55}">
      <dgm:prSet/>
      <dgm:spPr/>
      <dgm:t>
        <a:bodyPr/>
        <a:lstStyle/>
        <a:p>
          <a:pPr algn="ctr"/>
          <a:endParaRPr lang="en-US" sz="2800"/>
        </a:p>
      </dgm:t>
    </dgm:pt>
    <dgm:pt modelId="{D479B075-A524-4D57-84DA-4C38BD6A8E6A}" type="sibTrans" cxnId="{F4A982C1-D894-41CD-8584-110F3EF63A55}">
      <dgm:prSet/>
      <dgm:spPr/>
      <dgm:t>
        <a:bodyPr/>
        <a:lstStyle/>
        <a:p>
          <a:pPr algn="ctr"/>
          <a:endParaRPr lang="en-US" sz="2800"/>
        </a:p>
      </dgm:t>
    </dgm:pt>
    <dgm:pt modelId="{36FE077C-8E2E-4C18-911B-017E6DB1EE21}">
      <dgm:prSet custT="1"/>
      <dgm:spPr/>
      <dgm:t>
        <a:bodyPr/>
        <a:lstStyle/>
        <a:p>
          <a:pPr algn="ctr"/>
          <a:endParaRPr lang="en-US" sz="2800"/>
        </a:p>
      </dgm:t>
    </dgm:pt>
    <dgm:pt modelId="{E375947E-C3BB-4E83-9F7A-E56F3FE71CFA}" type="parTrans" cxnId="{E1F8E53C-0F43-40D4-88B2-45B0905B95DF}">
      <dgm:prSet/>
      <dgm:spPr/>
      <dgm:t>
        <a:bodyPr/>
        <a:lstStyle/>
        <a:p>
          <a:pPr algn="ctr"/>
          <a:endParaRPr lang="en-US" sz="2800"/>
        </a:p>
      </dgm:t>
    </dgm:pt>
    <dgm:pt modelId="{57B84793-0736-464F-8DD8-CAD17AA8EA13}" type="sibTrans" cxnId="{E1F8E53C-0F43-40D4-88B2-45B0905B95DF}">
      <dgm:prSet/>
      <dgm:spPr/>
      <dgm:t>
        <a:bodyPr/>
        <a:lstStyle/>
        <a:p>
          <a:pPr algn="ctr"/>
          <a:endParaRPr lang="en-US" sz="2800"/>
        </a:p>
      </dgm:t>
    </dgm:pt>
    <dgm:pt modelId="{8831656A-F00B-40DF-8015-979A0F451521}">
      <dgm:prSet custT="1"/>
      <dgm:spPr/>
      <dgm:t>
        <a:bodyPr/>
        <a:lstStyle/>
        <a:p>
          <a:pPr algn="ctr"/>
          <a:r>
            <a:rPr lang="en-US" sz="2800"/>
            <a:t>Suspend code </a:t>
          </a:r>
          <a:r>
            <a:rPr lang="en-US" sz="2800" b="1"/>
            <a:t>during</a:t>
          </a:r>
          <a:r>
            <a:rPr lang="en-US" sz="2800"/>
            <a:t> execution</a:t>
          </a:r>
        </a:p>
      </dgm:t>
    </dgm:pt>
    <dgm:pt modelId="{804C7FA4-9118-4367-8F73-99ACFC5C0A0C}" type="parTrans" cxnId="{6FEBB338-7CA3-48C6-BF0A-B5A1FA27C8DE}">
      <dgm:prSet/>
      <dgm:spPr/>
      <dgm:t>
        <a:bodyPr/>
        <a:lstStyle/>
        <a:p>
          <a:endParaRPr lang="en-US" sz="2800"/>
        </a:p>
      </dgm:t>
    </dgm:pt>
    <dgm:pt modelId="{56CC7C97-D12C-4B62-BFDE-583E1FD1CC20}" type="sibTrans" cxnId="{6FEBB338-7CA3-48C6-BF0A-B5A1FA27C8DE}">
      <dgm:prSet/>
      <dgm:spPr/>
      <dgm:t>
        <a:bodyPr/>
        <a:lstStyle/>
        <a:p>
          <a:endParaRPr lang="en-US" sz="2800"/>
        </a:p>
      </dgm:t>
    </dgm:pt>
    <dgm:pt modelId="{91715FD6-3A11-4D3A-96D5-49ABEBE9E5FF}" type="pres">
      <dgm:prSet presAssocID="{16DFC28B-046E-46BF-ABEF-813E86E38D93}" presName="vert0" presStyleCnt="0">
        <dgm:presLayoutVars>
          <dgm:dir/>
          <dgm:animOne val="branch"/>
          <dgm:animLvl val="lvl"/>
        </dgm:presLayoutVars>
      </dgm:prSet>
      <dgm:spPr/>
    </dgm:pt>
    <dgm:pt modelId="{7F92515E-CD02-4C4C-BD7C-A393AE5C0286}" type="pres">
      <dgm:prSet presAssocID="{9BF002BB-57E5-4B8B-AB95-8DD530A7A541}" presName="thickLine" presStyleLbl="alignNode1" presStyleIdx="0" presStyleCnt="4"/>
      <dgm:spPr/>
    </dgm:pt>
    <dgm:pt modelId="{E3D02D52-57FE-4D1A-99A3-39C3306FF364}" type="pres">
      <dgm:prSet presAssocID="{9BF002BB-57E5-4B8B-AB95-8DD530A7A541}" presName="horz1" presStyleCnt="0"/>
      <dgm:spPr/>
    </dgm:pt>
    <dgm:pt modelId="{00977FB7-A19E-4748-B514-6E24DD1076E8}" type="pres">
      <dgm:prSet presAssocID="{9BF002BB-57E5-4B8B-AB95-8DD530A7A541}" presName="tx1" presStyleLbl="revTx" presStyleIdx="0" presStyleCnt="4"/>
      <dgm:spPr/>
    </dgm:pt>
    <dgm:pt modelId="{68A0CACA-56FA-4499-813E-9E4651C2B138}" type="pres">
      <dgm:prSet presAssocID="{9BF002BB-57E5-4B8B-AB95-8DD530A7A541}" presName="vert1" presStyleCnt="0"/>
      <dgm:spPr/>
    </dgm:pt>
    <dgm:pt modelId="{AB655DDB-1BA2-4227-96C4-2753E91A0794}" type="pres">
      <dgm:prSet presAssocID="{8831656A-F00B-40DF-8015-979A0F451521}" presName="thickLine" presStyleLbl="alignNode1" presStyleIdx="1" presStyleCnt="4"/>
      <dgm:spPr/>
    </dgm:pt>
    <dgm:pt modelId="{86B619EB-FC36-4B40-A0AB-DE5268279626}" type="pres">
      <dgm:prSet presAssocID="{8831656A-F00B-40DF-8015-979A0F451521}" presName="horz1" presStyleCnt="0"/>
      <dgm:spPr/>
    </dgm:pt>
    <dgm:pt modelId="{7DF5BA09-C705-45C5-AE0F-FB8A5E403813}" type="pres">
      <dgm:prSet presAssocID="{8831656A-F00B-40DF-8015-979A0F451521}" presName="tx1" presStyleLbl="revTx" presStyleIdx="1" presStyleCnt="4"/>
      <dgm:spPr/>
    </dgm:pt>
    <dgm:pt modelId="{E7BFA793-0087-46F5-A51F-0A3D1CE1F3FA}" type="pres">
      <dgm:prSet presAssocID="{8831656A-F00B-40DF-8015-979A0F451521}" presName="vert1" presStyleCnt="0"/>
      <dgm:spPr/>
    </dgm:pt>
    <dgm:pt modelId="{A5035FA2-26A3-4985-8AB8-FDEF3CD89851}" type="pres">
      <dgm:prSet presAssocID="{20BC18BA-5300-4A9C-BB58-8BCB163E1A75}" presName="thickLine" presStyleLbl="alignNode1" presStyleIdx="2" presStyleCnt="4"/>
      <dgm:spPr/>
    </dgm:pt>
    <dgm:pt modelId="{CF6EA641-D268-4199-872E-F3F2DAF7EE9D}" type="pres">
      <dgm:prSet presAssocID="{20BC18BA-5300-4A9C-BB58-8BCB163E1A75}" presName="horz1" presStyleCnt="0"/>
      <dgm:spPr/>
    </dgm:pt>
    <dgm:pt modelId="{E7A7E79A-92E1-4D0D-BEE7-CE422E3988F2}" type="pres">
      <dgm:prSet presAssocID="{20BC18BA-5300-4A9C-BB58-8BCB163E1A75}" presName="tx1" presStyleLbl="revTx" presStyleIdx="2" presStyleCnt="4"/>
      <dgm:spPr/>
    </dgm:pt>
    <dgm:pt modelId="{64338856-78EA-41AE-9A03-CC892C0F18BD}" type="pres">
      <dgm:prSet presAssocID="{20BC18BA-5300-4A9C-BB58-8BCB163E1A75}" presName="vert1" presStyleCnt="0"/>
      <dgm:spPr/>
    </dgm:pt>
    <dgm:pt modelId="{0A03F382-9D0B-47B4-BB0C-DBDF58D17372}" type="pres">
      <dgm:prSet presAssocID="{36FE077C-8E2E-4C18-911B-017E6DB1EE21}" presName="thickLine" presStyleLbl="alignNode1" presStyleIdx="3" presStyleCnt="4"/>
      <dgm:spPr/>
    </dgm:pt>
    <dgm:pt modelId="{659EFC45-5F44-4631-9396-01565672FC24}" type="pres">
      <dgm:prSet presAssocID="{36FE077C-8E2E-4C18-911B-017E6DB1EE21}" presName="horz1" presStyleCnt="0"/>
      <dgm:spPr/>
    </dgm:pt>
    <dgm:pt modelId="{DA605ACC-9C78-4AD8-AF5D-9B3688F2E0F7}" type="pres">
      <dgm:prSet presAssocID="{36FE077C-8E2E-4C18-911B-017E6DB1EE21}" presName="tx1" presStyleLbl="revTx" presStyleIdx="3" presStyleCnt="4"/>
      <dgm:spPr/>
    </dgm:pt>
    <dgm:pt modelId="{ABDD0D3B-B391-476E-9452-54C46907AECB}" type="pres">
      <dgm:prSet presAssocID="{36FE077C-8E2E-4C18-911B-017E6DB1EE21}" presName="vert1" presStyleCnt="0"/>
      <dgm:spPr/>
    </dgm:pt>
  </dgm:ptLst>
  <dgm:cxnLst>
    <dgm:cxn modelId="{D0224D06-ACD2-436D-95CF-6A1801481C5E}" type="presOf" srcId="{36FE077C-8E2E-4C18-911B-017E6DB1EE21}" destId="{DA605ACC-9C78-4AD8-AF5D-9B3688F2E0F7}" srcOrd="0" destOrd="0" presId="urn:microsoft.com/office/officeart/2008/layout/LinedList"/>
    <dgm:cxn modelId="{51BAFA2C-6B20-4B16-BEAB-7C4320FA297D}" type="presOf" srcId="{8831656A-F00B-40DF-8015-979A0F451521}" destId="{7DF5BA09-C705-45C5-AE0F-FB8A5E403813}" srcOrd="0" destOrd="0" presId="urn:microsoft.com/office/officeart/2008/layout/LinedList"/>
    <dgm:cxn modelId="{6FEBB338-7CA3-48C6-BF0A-B5A1FA27C8DE}" srcId="{16DFC28B-046E-46BF-ABEF-813E86E38D93}" destId="{8831656A-F00B-40DF-8015-979A0F451521}" srcOrd="1" destOrd="0" parTransId="{804C7FA4-9118-4367-8F73-99ACFC5C0A0C}" sibTransId="{56CC7C97-D12C-4B62-BFDE-583E1FD1CC20}"/>
    <dgm:cxn modelId="{E1F8E53C-0F43-40D4-88B2-45B0905B95DF}" srcId="{16DFC28B-046E-46BF-ABEF-813E86E38D93}" destId="{36FE077C-8E2E-4C18-911B-017E6DB1EE21}" srcOrd="3" destOrd="0" parTransId="{E375947E-C3BB-4E83-9F7A-E56F3FE71CFA}" sibTransId="{57B84793-0736-464F-8DD8-CAD17AA8EA13}"/>
    <dgm:cxn modelId="{C2D90873-7AD9-4F6B-8D05-5BA88B894F72}" type="presOf" srcId="{9BF002BB-57E5-4B8B-AB95-8DD530A7A541}" destId="{00977FB7-A19E-4748-B514-6E24DD1076E8}" srcOrd="0" destOrd="0" presId="urn:microsoft.com/office/officeart/2008/layout/LinedList"/>
    <dgm:cxn modelId="{42DC6B88-EAC6-4C3F-9BC4-998C5646E172}" type="presOf" srcId="{16DFC28B-046E-46BF-ABEF-813E86E38D93}" destId="{91715FD6-3A11-4D3A-96D5-49ABEBE9E5FF}" srcOrd="0" destOrd="0" presId="urn:microsoft.com/office/officeart/2008/layout/LinedList"/>
    <dgm:cxn modelId="{245230B9-8426-4962-9A1A-26853F79046F}" type="presOf" srcId="{20BC18BA-5300-4A9C-BB58-8BCB163E1A75}" destId="{E7A7E79A-92E1-4D0D-BEE7-CE422E3988F2}" srcOrd="0" destOrd="0" presId="urn:microsoft.com/office/officeart/2008/layout/LinedList"/>
    <dgm:cxn modelId="{F4A982C1-D894-41CD-8584-110F3EF63A55}" srcId="{16DFC28B-046E-46BF-ABEF-813E86E38D93}" destId="{20BC18BA-5300-4A9C-BB58-8BCB163E1A75}" srcOrd="2" destOrd="0" parTransId="{49936573-11E1-4BF3-B307-28EE68BA8E61}" sibTransId="{D479B075-A524-4D57-84DA-4C38BD6A8E6A}"/>
    <dgm:cxn modelId="{3CFF4FFD-6C02-48A5-B8E1-85816C705159}" srcId="{16DFC28B-046E-46BF-ABEF-813E86E38D93}" destId="{9BF002BB-57E5-4B8B-AB95-8DD530A7A541}" srcOrd="0" destOrd="0" parTransId="{15390401-3DCF-445F-84AA-4F4564DA73C2}" sibTransId="{EF2A19F7-2B23-432A-A34E-1DF3EF911DB6}"/>
    <dgm:cxn modelId="{CAFC2629-E6B4-4959-A4E5-A0A072365BB7}" type="presParOf" srcId="{91715FD6-3A11-4D3A-96D5-49ABEBE9E5FF}" destId="{7F92515E-CD02-4C4C-BD7C-A393AE5C0286}" srcOrd="0" destOrd="0" presId="urn:microsoft.com/office/officeart/2008/layout/LinedList"/>
    <dgm:cxn modelId="{91221033-223D-48A7-B367-85D7F1AC8A76}" type="presParOf" srcId="{91715FD6-3A11-4D3A-96D5-49ABEBE9E5FF}" destId="{E3D02D52-57FE-4D1A-99A3-39C3306FF364}" srcOrd="1" destOrd="0" presId="urn:microsoft.com/office/officeart/2008/layout/LinedList"/>
    <dgm:cxn modelId="{9D30225B-7440-4303-9D02-E4AC23DAFDCA}" type="presParOf" srcId="{E3D02D52-57FE-4D1A-99A3-39C3306FF364}" destId="{00977FB7-A19E-4748-B514-6E24DD1076E8}" srcOrd="0" destOrd="0" presId="urn:microsoft.com/office/officeart/2008/layout/LinedList"/>
    <dgm:cxn modelId="{408E1D21-83B8-4098-99B9-020D346BD2E8}" type="presParOf" srcId="{E3D02D52-57FE-4D1A-99A3-39C3306FF364}" destId="{68A0CACA-56FA-4499-813E-9E4651C2B138}" srcOrd="1" destOrd="0" presId="urn:microsoft.com/office/officeart/2008/layout/LinedList"/>
    <dgm:cxn modelId="{90E1A348-0E89-41F4-9B0F-17CF8784C77A}" type="presParOf" srcId="{91715FD6-3A11-4D3A-96D5-49ABEBE9E5FF}" destId="{AB655DDB-1BA2-4227-96C4-2753E91A0794}" srcOrd="2" destOrd="0" presId="urn:microsoft.com/office/officeart/2008/layout/LinedList"/>
    <dgm:cxn modelId="{03208E14-45B4-4A5F-A653-E7D51BA4C766}" type="presParOf" srcId="{91715FD6-3A11-4D3A-96D5-49ABEBE9E5FF}" destId="{86B619EB-FC36-4B40-A0AB-DE5268279626}" srcOrd="3" destOrd="0" presId="urn:microsoft.com/office/officeart/2008/layout/LinedList"/>
    <dgm:cxn modelId="{10053187-349D-4CBC-94DA-2D758CCE5133}" type="presParOf" srcId="{86B619EB-FC36-4B40-A0AB-DE5268279626}" destId="{7DF5BA09-C705-45C5-AE0F-FB8A5E403813}" srcOrd="0" destOrd="0" presId="urn:microsoft.com/office/officeart/2008/layout/LinedList"/>
    <dgm:cxn modelId="{3818152D-B606-4365-ACE6-55261AA4AF56}" type="presParOf" srcId="{86B619EB-FC36-4B40-A0AB-DE5268279626}" destId="{E7BFA793-0087-46F5-A51F-0A3D1CE1F3FA}" srcOrd="1" destOrd="0" presId="urn:microsoft.com/office/officeart/2008/layout/LinedList"/>
    <dgm:cxn modelId="{E1E40EEB-DAFB-43B7-B0FB-9E1F6B24611A}" type="presParOf" srcId="{91715FD6-3A11-4D3A-96D5-49ABEBE9E5FF}" destId="{A5035FA2-26A3-4985-8AB8-FDEF3CD89851}" srcOrd="4" destOrd="0" presId="urn:microsoft.com/office/officeart/2008/layout/LinedList"/>
    <dgm:cxn modelId="{315C9ECD-7953-4E61-AE85-1E0931CE0C27}" type="presParOf" srcId="{91715FD6-3A11-4D3A-96D5-49ABEBE9E5FF}" destId="{CF6EA641-D268-4199-872E-F3F2DAF7EE9D}" srcOrd="5" destOrd="0" presId="urn:microsoft.com/office/officeart/2008/layout/LinedList"/>
    <dgm:cxn modelId="{408BE27C-3F85-4EF2-85EB-BBF621C2459B}" type="presParOf" srcId="{CF6EA641-D268-4199-872E-F3F2DAF7EE9D}" destId="{E7A7E79A-92E1-4D0D-BEE7-CE422E3988F2}" srcOrd="0" destOrd="0" presId="urn:microsoft.com/office/officeart/2008/layout/LinedList"/>
    <dgm:cxn modelId="{609E59B8-96D4-4BC6-8852-D83DF8C82D2B}" type="presParOf" srcId="{CF6EA641-D268-4199-872E-F3F2DAF7EE9D}" destId="{64338856-78EA-41AE-9A03-CC892C0F18BD}" srcOrd="1" destOrd="0" presId="urn:microsoft.com/office/officeart/2008/layout/LinedList"/>
    <dgm:cxn modelId="{294135E0-90B7-4028-9B2A-A9590A2FDEE2}" type="presParOf" srcId="{91715FD6-3A11-4D3A-96D5-49ABEBE9E5FF}" destId="{0A03F382-9D0B-47B4-BB0C-DBDF58D17372}" srcOrd="6" destOrd="0" presId="urn:microsoft.com/office/officeart/2008/layout/LinedList"/>
    <dgm:cxn modelId="{A531267F-C570-461A-B2A4-F904686A2323}" type="presParOf" srcId="{91715FD6-3A11-4D3A-96D5-49ABEBE9E5FF}" destId="{659EFC45-5F44-4631-9396-01565672FC24}" srcOrd="7" destOrd="0" presId="urn:microsoft.com/office/officeart/2008/layout/LinedList"/>
    <dgm:cxn modelId="{EA62092A-012B-40BC-B32B-FB8F5E426F44}" type="presParOf" srcId="{659EFC45-5F44-4631-9396-01565672FC24}" destId="{DA605ACC-9C78-4AD8-AF5D-9B3688F2E0F7}" srcOrd="0" destOrd="0" presId="urn:microsoft.com/office/officeart/2008/layout/LinedList"/>
    <dgm:cxn modelId="{ADC20BF5-5D93-418F-857D-7501A88CBADF}" type="presParOf" srcId="{659EFC45-5F44-4631-9396-01565672FC24}" destId="{ABDD0D3B-B391-476E-9452-54C46907AECB}"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6DFC28B-046E-46BF-ABEF-813E86E38D93}" type="doc">
      <dgm:prSet loTypeId="urn:microsoft.com/office/officeart/2005/8/layout/pList1" loCatId="list" qsTypeId="urn:microsoft.com/office/officeart/2005/8/quickstyle/simple5" qsCatId="simple" csTypeId="urn:microsoft.com/office/officeart/2005/8/colors/accent1_2" csCatId="accent1" phldr="1"/>
      <dgm:spPr/>
      <dgm:t>
        <a:bodyPr/>
        <a:lstStyle/>
        <a:p>
          <a:endParaRPr lang="en-US"/>
        </a:p>
      </dgm:t>
    </dgm:pt>
    <dgm:pt modelId="{9BF002BB-57E5-4B8B-AB95-8DD530A7A541}">
      <dgm:prSet/>
      <dgm:spPr/>
      <dgm:t>
        <a:bodyPr/>
        <a:lstStyle/>
        <a:p>
          <a:r>
            <a:rPr lang="en-US" b="1" i="0"/>
            <a:t>Breakpoints</a:t>
          </a:r>
          <a:endParaRPr lang="en-US" b="1"/>
        </a:p>
      </dgm:t>
    </dgm:pt>
    <dgm:pt modelId="{15390401-3DCF-445F-84AA-4F4564DA73C2}" type="parTrans" cxnId="{3CFF4FFD-6C02-48A5-B8E1-85816C705159}">
      <dgm:prSet/>
      <dgm:spPr/>
      <dgm:t>
        <a:bodyPr/>
        <a:lstStyle/>
        <a:p>
          <a:endParaRPr lang="en-US"/>
        </a:p>
      </dgm:t>
    </dgm:pt>
    <dgm:pt modelId="{EF2A19F7-2B23-432A-A34E-1DF3EF911DB6}" type="sibTrans" cxnId="{3CFF4FFD-6C02-48A5-B8E1-85816C705159}">
      <dgm:prSet/>
      <dgm:spPr/>
      <dgm:t>
        <a:bodyPr/>
        <a:lstStyle/>
        <a:p>
          <a:endParaRPr lang="en-US"/>
        </a:p>
      </dgm:t>
    </dgm:pt>
    <dgm:pt modelId="{F662FD85-8F73-48E1-9A9A-F13FF5E66AD5}">
      <dgm:prSet/>
      <dgm:spPr/>
      <dgm:t>
        <a:bodyPr/>
        <a:lstStyle/>
        <a:p>
          <a:r>
            <a:rPr lang="en-US" b="1"/>
            <a:t>Debugger</a:t>
          </a:r>
          <a:r>
            <a:rPr lang="en-US"/>
            <a:t> Exclusive Code</a:t>
          </a:r>
        </a:p>
      </dgm:t>
    </dgm:pt>
    <dgm:pt modelId="{84A6DB01-BE8A-49CB-BE57-D70002380A01}" type="parTrans" cxnId="{ABAACC69-0D20-4901-B616-2A5D2335FC48}">
      <dgm:prSet/>
      <dgm:spPr/>
      <dgm:t>
        <a:bodyPr/>
        <a:lstStyle/>
        <a:p>
          <a:endParaRPr lang="en-US"/>
        </a:p>
      </dgm:t>
    </dgm:pt>
    <dgm:pt modelId="{410D28F6-32C8-470B-A46D-0A113494E2CE}" type="sibTrans" cxnId="{ABAACC69-0D20-4901-B616-2A5D2335FC48}">
      <dgm:prSet/>
      <dgm:spPr/>
      <dgm:t>
        <a:bodyPr/>
        <a:lstStyle/>
        <a:p>
          <a:endParaRPr lang="en-US"/>
        </a:p>
      </dgm:t>
    </dgm:pt>
    <dgm:pt modelId="{4907D00D-AFCB-421F-95A5-B5556C2CC545}">
      <dgm:prSet/>
      <dgm:spPr/>
      <dgm:t>
        <a:bodyPr/>
        <a:lstStyle/>
        <a:p>
          <a:r>
            <a:rPr lang="en-US" b="1"/>
            <a:t>Call stack</a:t>
          </a:r>
        </a:p>
      </dgm:t>
    </dgm:pt>
    <dgm:pt modelId="{82C8A515-E0D4-4E99-97DF-984C15E45148}" type="parTrans" cxnId="{6AEA275F-383A-4E29-866B-A4710A7148BE}">
      <dgm:prSet/>
      <dgm:spPr/>
      <dgm:t>
        <a:bodyPr/>
        <a:lstStyle/>
        <a:p>
          <a:endParaRPr lang="en-US"/>
        </a:p>
      </dgm:t>
    </dgm:pt>
    <dgm:pt modelId="{D81FF6E3-34FB-4840-9FDC-2B7D3841D1F7}" type="sibTrans" cxnId="{6AEA275F-383A-4E29-866B-A4710A7148BE}">
      <dgm:prSet/>
      <dgm:spPr/>
      <dgm:t>
        <a:bodyPr/>
        <a:lstStyle/>
        <a:p>
          <a:endParaRPr lang="en-US"/>
        </a:p>
      </dgm:t>
    </dgm:pt>
    <dgm:pt modelId="{20BC18BA-5300-4A9C-BB58-8BCB163E1A75}">
      <dgm:prSet/>
      <dgm:spPr/>
      <dgm:t>
        <a:bodyPr/>
        <a:lstStyle/>
        <a:p>
          <a:r>
            <a:rPr lang="en-US" b="1"/>
            <a:t>Writing</a:t>
          </a:r>
          <a:r>
            <a:rPr lang="en-US"/>
            <a:t> </a:t>
          </a:r>
          <a:r>
            <a:rPr lang="en-US" b="1"/>
            <a:t>to</a:t>
          </a:r>
          <a:br>
            <a:rPr lang="en-US"/>
          </a:br>
          <a:r>
            <a:rPr lang="en-US"/>
            <a:t>console/logs</a:t>
          </a:r>
        </a:p>
      </dgm:t>
    </dgm:pt>
    <dgm:pt modelId="{49936573-11E1-4BF3-B307-28EE68BA8E61}" type="parTrans" cxnId="{F4A982C1-D894-41CD-8584-110F3EF63A55}">
      <dgm:prSet/>
      <dgm:spPr/>
      <dgm:t>
        <a:bodyPr/>
        <a:lstStyle/>
        <a:p>
          <a:endParaRPr lang="en-US"/>
        </a:p>
      </dgm:t>
    </dgm:pt>
    <dgm:pt modelId="{D479B075-A524-4D57-84DA-4C38BD6A8E6A}" type="sibTrans" cxnId="{F4A982C1-D894-41CD-8584-110F3EF63A55}">
      <dgm:prSet/>
      <dgm:spPr/>
      <dgm:t>
        <a:bodyPr/>
        <a:lstStyle/>
        <a:p>
          <a:endParaRPr lang="en-US"/>
        </a:p>
      </dgm:t>
    </dgm:pt>
    <dgm:pt modelId="{319480DC-0CDB-44AD-B51F-F843674EC02A}" type="pres">
      <dgm:prSet presAssocID="{16DFC28B-046E-46BF-ABEF-813E86E38D93}" presName="Name0" presStyleCnt="0">
        <dgm:presLayoutVars>
          <dgm:dir/>
          <dgm:resizeHandles val="exact"/>
        </dgm:presLayoutVars>
      </dgm:prSet>
      <dgm:spPr/>
    </dgm:pt>
    <dgm:pt modelId="{1EEDC685-34AF-4F4E-9840-C0D23EE70EF4}" type="pres">
      <dgm:prSet presAssocID="{9BF002BB-57E5-4B8B-AB95-8DD530A7A541}" presName="compNode" presStyleCnt="0"/>
      <dgm:spPr/>
    </dgm:pt>
    <dgm:pt modelId="{16FBA10C-0257-4265-ACBC-DC902F0CAB96}" type="pres">
      <dgm:prSet presAssocID="{9BF002BB-57E5-4B8B-AB95-8DD530A7A541}" presName="pictRect" presStyleLbl="node1" presStyleIdx="0" presStyleCnt="4"/>
      <dgm:spPr>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5550" r="15550"/>
          </a:stretch>
        </a:blipFill>
      </dgm:spPr>
      <dgm:extLst>
        <a:ext uri="{E40237B7-FDA0-4F09-8148-C483321AD2D9}">
          <dgm14:cNvPr xmlns:dgm14="http://schemas.microsoft.com/office/drawing/2010/diagram" id="0" name="" descr="Stop with solid fill"/>
        </a:ext>
      </dgm:extLst>
    </dgm:pt>
    <dgm:pt modelId="{FD4603A6-F557-4C68-951D-DC98360CEB2D}" type="pres">
      <dgm:prSet presAssocID="{9BF002BB-57E5-4B8B-AB95-8DD530A7A541}" presName="textRect" presStyleLbl="revTx" presStyleIdx="0" presStyleCnt="4">
        <dgm:presLayoutVars>
          <dgm:bulletEnabled val="1"/>
        </dgm:presLayoutVars>
      </dgm:prSet>
      <dgm:spPr/>
    </dgm:pt>
    <dgm:pt modelId="{AA7DB915-7800-4688-9D2E-E88D6B9DFD4F}" type="pres">
      <dgm:prSet presAssocID="{EF2A19F7-2B23-432A-A34E-1DF3EF911DB6}" presName="sibTrans" presStyleLbl="sibTrans2D1" presStyleIdx="0" presStyleCnt="0"/>
      <dgm:spPr/>
    </dgm:pt>
    <dgm:pt modelId="{73D44A81-6EF6-443B-AD35-F98125CFF536}" type="pres">
      <dgm:prSet presAssocID="{20BC18BA-5300-4A9C-BB58-8BCB163E1A75}" presName="compNode" presStyleCnt="0"/>
      <dgm:spPr/>
    </dgm:pt>
    <dgm:pt modelId="{8501AF95-0235-4BC9-886A-5D21E122E01C}" type="pres">
      <dgm:prSet presAssocID="{20BC18BA-5300-4A9C-BB58-8BCB163E1A75}" presName="pictRect" presStyleLbl="node1" presStyleIdx="1" presStyleCnt="4"/>
      <dgm:spPr>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l="15550" r="15550"/>
          </a:stretch>
        </a:blipFill>
      </dgm:spPr>
      <dgm:extLst>
        <a:ext uri="{E40237B7-FDA0-4F09-8148-C483321AD2D9}">
          <dgm14:cNvPr xmlns:dgm14="http://schemas.microsoft.com/office/drawing/2010/diagram" id="0" name="" descr="Document with solid fill"/>
        </a:ext>
      </dgm:extLst>
    </dgm:pt>
    <dgm:pt modelId="{546D3D83-5BD1-45A9-8867-61A1C02F16C0}" type="pres">
      <dgm:prSet presAssocID="{20BC18BA-5300-4A9C-BB58-8BCB163E1A75}" presName="textRect" presStyleLbl="revTx" presStyleIdx="1" presStyleCnt="4">
        <dgm:presLayoutVars>
          <dgm:bulletEnabled val="1"/>
        </dgm:presLayoutVars>
      </dgm:prSet>
      <dgm:spPr/>
    </dgm:pt>
    <dgm:pt modelId="{E82D5784-A976-4D76-A0FD-A176A1D2054A}" type="pres">
      <dgm:prSet presAssocID="{D479B075-A524-4D57-84DA-4C38BD6A8E6A}" presName="sibTrans" presStyleLbl="sibTrans2D1" presStyleIdx="0" presStyleCnt="0"/>
      <dgm:spPr/>
    </dgm:pt>
    <dgm:pt modelId="{6AD7E46A-939B-4974-BC5D-0D95EE119EC5}" type="pres">
      <dgm:prSet presAssocID="{F662FD85-8F73-48E1-9A9A-F13FF5E66AD5}" presName="compNode" presStyleCnt="0"/>
      <dgm:spPr/>
    </dgm:pt>
    <dgm:pt modelId="{7ED48CC1-A39F-48F5-B6B1-8E61391AB864}" type="pres">
      <dgm:prSet presAssocID="{F662FD85-8F73-48E1-9A9A-F13FF5E66AD5}" presName="pictRect" presStyleLbl="node1" presStyleIdx="2" presStyleCnt="4"/>
      <dgm:spPr>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5550" r="15550"/>
          </a:stretch>
        </a:blipFill>
      </dgm:spPr>
      <dgm:extLst>
        <a:ext uri="{E40237B7-FDA0-4F09-8148-C483321AD2D9}">
          <dgm14:cNvPr xmlns:dgm14="http://schemas.microsoft.com/office/drawing/2010/diagram" id="0" name="" descr="Plug"/>
        </a:ext>
      </dgm:extLst>
    </dgm:pt>
    <dgm:pt modelId="{91451F40-25A8-4079-A5F1-7312166F9258}" type="pres">
      <dgm:prSet presAssocID="{F662FD85-8F73-48E1-9A9A-F13FF5E66AD5}" presName="textRect" presStyleLbl="revTx" presStyleIdx="2" presStyleCnt="4">
        <dgm:presLayoutVars>
          <dgm:bulletEnabled val="1"/>
        </dgm:presLayoutVars>
      </dgm:prSet>
      <dgm:spPr/>
    </dgm:pt>
    <dgm:pt modelId="{D8C56218-F382-4403-82AA-0024EB315F25}" type="pres">
      <dgm:prSet presAssocID="{410D28F6-32C8-470B-A46D-0A113494E2CE}" presName="sibTrans" presStyleLbl="sibTrans2D1" presStyleIdx="0" presStyleCnt="0"/>
      <dgm:spPr/>
    </dgm:pt>
    <dgm:pt modelId="{57359652-22DA-494E-944A-94CBF4150AE8}" type="pres">
      <dgm:prSet presAssocID="{4907D00D-AFCB-421F-95A5-B5556C2CC545}" presName="compNode" presStyleCnt="0"/>
      <dgm:spPr/>
    </dgm:pt>
    <dgm:pt modelId="{68FEDBA5-7589-4BA4-B793-49A9FEBED451}" type="pres">
      <dgm:prSet presAssocID="{4907D00D-AFCB-421F-95A5-B5556C2CC545}" presName="pictRect" presStyleLbl="node1" presStyleIdx="3" presStyleCnt="4"/>
      <dgm:spPr>
        <a:blipFill dpi="0" rotWithShape="1">
          <a:blip xmlns:r="http://schemas.openxmlformats.org/officeDocument/2006/relationships" r:embed="rId7">
            <a:extLst>
              <a:ext uri="{96DAC541-7B7A-43D3-8B79-37D633B846F1}">
                <asvg:svgBlip xmlns:asvg="http://schemas.microsoft.com/office/drawing/2016/SVG/main" r:embed="rId8"/>
              </a:ext>
            </a:extLst>
          </a:blip>
          <a:srcRect/>
          <a:stretch>
            <a:fillRect l="15550" r="15550"/>
          </a:stretch>
        </a:blipFill>
      </dgm:spPr>
      <dgm:extLst>
        <a:ext uri="{E40237B7-FDA0-4F09-8148-C483321AD2D9}">
          <dgm14:cNvPr xmlns:dgm14="http://schemas.microsoft.com/office/drawing/2010/diagram" id="0" name="" descr="Treasure Map with solid fill"/>
        </a:ext>
      </dgm:extLst>
    </dgm:pt>
    <dgm:pt modelId="{CFEE1968-017E-4F79-830D-B7C9D43E23C3}" type="pres">
      <dgm:prSet presAssocID="{4907D00D-AFCB-421F-95A5-B5556C2CC545}" presName="textRect" presStyleLbl="revTx" presStyleIdx="3" presStyleCnt="4">
        <dgm:presLayoutVars>
          <dgm:bulletEnabled val="1"/>
        </dgm:presLayoutVars>
      </dgm:prSet>
      <dgm:spPr/>
    </dgm:pt>
  </dgm:ptLst>
  <dgm:cxnLst>
    <dgm:cxn modelId="{CBC73604-D03E-4D11-8FFF-7C0A43346908}" type="presOf" srcId="{4907D00D-AFCB-421F-95A5-B5556C2CC545}" destId="{CFEE1968-017E-4F79-830D-B7C9D43E23C3}" srcOrd="0" destOrd="0" presId="urn:microsoft.com/office/officeart/2005/8/layout/pList1"/>
    <dgm:cxn modelId="{6AEA275F-383A-4E29-866B-A4710A7148BE}" srcId="{16DFC28B-046E-46BF-ABEF-813E86E38D93}" destId="{4907D00D-AFCB-421F-95A5-B5556C2CC545}" srcOrd="3" destOrd="0" parTransId="{82C8A515-E0D4-4E99-97DF-984C15E45148}" sibTransId="{D81FF6E3-34FB-4840-9FDC-2B7D3841D1F7}"/>
    <dgm:cxn modelId="{5A6C2343-EE63-408F-96F8-1AABC7ACC145}" type="presOf" srcId="{D479B075-A524-4D57-84DA-4C38BD6A8E6A}" destId="{E82D5784-A976-4D76-A0FD-A176A1D2054A}" srcOrd="0" destOrd="0" presId="urn:microsoft.com/office/officeart/2005/8/layout/pList1"/>
    <dgm:cxn modelId="{ABAACC69-0D20-4901-B616-2A5D2335FC48}" srcId="{16DFC28B-046E-46BF-ABEF-813E86E38D93}" destId="{F662FD85-8F73-48E1-9A9A-F13FF5E66AD5}" srcOrd="2" destOrd="0" parTransId="{84A6DB01-BE8A-49CB-BE57-D70002380A01}" sibTransId="{410D28F6-32C8-470B-A46D-0A113494E2CE}"/>
    <dgm:cxn modelId="{5184289D-1919-4352-9984-F074190464BA}" type="presOf" srcId="{16DFC28B-046E-46BF-ABEF-813E86E38D93}" destId="{319480DC-0CDB-44AD-B51F-F843674EC02A}" srcOrd="0" destOrd="0" presId="urn:microsoft.com/office/officeart/2005/8/layout/pList1"/>
    <dgm:cxn modelId="{72AF0CA5-0DD5-45B8-8139-CA4A78288059}" type="presOf" srcId="{F662FD85-8F73-48E1-9A9A-F13FF5E66AD5}" destId="{91451F40-25A8-4079-A5F1-7312166F9258}" srcOrd="0" destOrd="0" presId="urn:microsoft.com/office/officeart/2005/8/layout/pList1"/>
    <dgm:cxn modelId="{2D1076B7-2BC4-4AE2-B6F8-D4F9E8F7E518}" type="presOf" srcId="{EF2A19F7-2B23-432A-A34E-1DF3EF911DB6}" destId="{AA7DB915-7800-4688-9D2E-E88D6B9DFD4F}" srcOrd="0" destOrd="0" presId="urn:microsoft.com/office/officeart/2005/8/layout/pList1"/>
    <dgm:cxn modelId="{F4A982C1-D894-41CD-8584-110F3EF63A55}" srcId="{16DFC28B-046E-46BF-ABEF-813E86E38D93}" destId="{20BC18BA-5300-4A9C-BB58-8BCB163E1A75}" srcOrd="1" destOrd="0" parTransId="{49936573-11E1-4BF3-B307-28EE68BA8E61}" sibTransId="{D479B075-A524-4D57-84DA-4C38BD6A8E6A}"/>
    <dgm:cxn modelId="{4797ECD0-6482-472B-A6B9-8C25968B614D}" type="presOf" srcId="{410D28F6-32C8-470B-A46D-0A113494E2CE}" destId="{D8C56218-F382-4403-82AA-0024EB315F25}" srcOrd="0" destOrd="0" presId="urn:microsoft.com/office/officeart/2005/8/layout/pList1"/>
    <dgm:cxn modelId="{4EEBBFD8-FB7C-41E3-A249-3D9FC3A00BDC}" type="presOf" srcId="{9BF002BB-57E5-4B8B-AB95-8DD530A7A541}" destId="{FD4603A6-F557-4C68-951D-DC98360CEB2D}" srcOrd="0" destOrd="0" presId="urn:microsoft.com/office/officeart/2005/8/layout/pList1"/>
    <dgm:cxn modelId="{583391F1-A97F-4F3C-9967-261726213AE4}" type="presOf" srcId="{20BC18BA-5300-4A9C-BB58-8BCB163E1A75}" destId="{546D3D83-5BD1-45A9-8867-61A1C02F16C0}" srcOrd="0" destOrd="0" presId="urn:microsoft.com/office/officeart/2005/8/layout/pList1"/>
    <dgm:cxn modelId="{3CFF4FFD-6C02-48A5-B8E1-85816C705159}" srcId="{16DFC28B-046E-46BF-ABEF-813E86E38D93}" destId="{9BF002BB-57E5-4B8B-AB95-8DD530A7A541}" srcOrd="0" destOrd="0" parTransId="{15390401-3DCF-445F-84AA-4F4564DA73C2}" sibTransId="{EF2A19F7-2B23-432A-A34E-1DF3EF911DB6}"/>
    <dgm:cxn modelId="{85FF33F1-61B0-427B-9BC0-29CFB75F9B23}" type="presParOf" srcId="{319480DC-0CDB-44AD-B51F-F843674EC02A}" destId="{1EEDC685-34AF-4F4E-9840-C0D23EE70EF4}" srcOrd="0" destOrd="0" presId="urn:microsoft.com/office/officeart/2005/8/layout/pList1"/>
    <dgm:cxn modelId="{12E5315D-0B21-4DD6-AEFA-FB0AA7256A4E}" type="presParOf" srcId="{1EEDC685-34AF-4F4E-9840-C0D23EE70EF4}" destId="{16FBA10C-0257-4265-ACBC-DC902F0CAB96}" srcOrd="0" destOrd="0" presId="urn:microsoft.com/office/officeart/2005/8/layout/pList1"/>
    <dgm:cxn modelId="{61DBCCD8-F7BA-4249-8CF3-2C2152C140FE}" type="presParOf" srcId="{1EEDC685-34AF-4F4E-9840-C0D23EE70EF4}" destId="{FD4603A6-F557-4C68-951D-DC98360CEB2D}" srcOrd="1" destOrd="0" presId="urn:microsoft.com/office/officeart/2005/8/layout/pList1"/>
    <dgm:cxn modelId="{BC8B5E42-A010-45B6-A23C-B7E897382024}" type="presParOf" srcId="{319480DC-0CDB-44AD-B51F-F843674EC02A}" destId="{AA7DB915-7800-4688-9D2E-E88D6B9DFD4F}" srcOrd="1" destOrd="0" presId="urn:microsoft.com/office/officeart/2005/8/layout/pList1"/>
    <dgm:cxn modelId="{3FC031EB-3907-482F-949F-E1F0D9880BE0}" type="presParOf" srcId="{319480DC-0CDB-44AD-B51F-F843674EC02A}" destId="{73D44A81-6EF6-443B-AD35-F98125CFF536}" srcOrd="2" destOrd="0" presId="urn:microsoft.com/office/officeart/2005/8/layout/pList1"/>
    <dgm:cxn modelId="{6BB1DEFD-D14C-4D68-9ADA-CDC313B5E684}" type="presParOf" srcId="{73D44A81-6EF6-443B-AD35-F98125CFF536}" destId="{8501AF95-0235-4BC9-886A-5D21E122E01C}" srcOrd="0" destOrd="0" presId="urn:microsoft.com/office/officeart/2005/8/layout/pList1"/>
    <dgm:cxn modelId="{6B1D70F8-23C2-4667-8EC8-3BEDEAEAAB34}" type="presParOf" srcId="{73D44A81-6EF6-443B-AD35-F98125CFF536}" destId="{546D3D83-5BD1-45A9-8867-61A1C02F16C0}" srcOrd="1" destOrd="0" presId="urn:microsoft.com/office/officeart/2005/8/layout/pList1"/>
    <dgm:cxn modelId="{118DBF69-E17B-4FA3-95EE-1F9857AD12BA}" type="presParOf" srcId="{319480DC-0CDB-44AD-B51F-F843674EC02A}" destId="{E82D5784-A976-4D76-A0FD-A176A1D2054A}" srcOrd="3" destOrd="0" presId="urn:microsoft.com/office/officeart/2005/8/layout/pList1"/>
    <dgm:cxn modelId="{E276FB3A-A9A7-4900-80C5-79EB74E6907B}" type="presParOf" srcId="{319480DC-0CDB-44AD-B51F-F843674EC02A}" destId="{6AD7E46A-939B-4974-BC5D-0D95EE119EC5}" srcOrd="4" destOrd="0" presId="urn:microsoft.com/office/officeart/2005/8/layout/pList1"/>
    <dgm:cxn modelId="{2441A114-2A83-4ABE-8F64-CC2F5138CC4F}" type="presParOf" srcId="{6AD7E46A-939B-4974-BC5D-0D95EE119EC5}" destId="{7ED48CC1-A39F-48F5-B6B1-8E61391AB864}" srcOrd="0" destOrd="0" presId="urn:microsoft.com/office/officeart/2005/8/layout/pList1"/>
    <dgm:cxn modelId="{1182FE2B-1B8D-4911-879C-AAF433C7BCA4}" type="presParOf" srcId="{6AD7E46A-939B-4974-BC5D-0D95EE119EC5}" destId="{91451F40-25A8-4079-A5F1-7312166F9258}" srcOrd="1" destOrd="0" presId="urn:microsoft.com/office/officeart/2005/8/layout/pList1"/>
    <dgm:cxn modelId="{2C4BBF89-3C87-4745-9828-41ED2EBA4F85}" type="presParOf" srcId="{319480DC-0CDB-44AD-B51F-F843674EC02A}" destId="{D8C56218-F382-4403-82AA-0024EB315F25}" srcOrd="5" destOrd="0" presId="urn:microsoft.com/office/officeart/2005/8/layout/pList1"/>
    <dgm:cxn modelId="{B8D1A434-829A-4430-9B3F-9F697BF5853F}" type="presParOf" srcId="{319480DC-0CDB-44AD-B51F-F843674EC02A}" destId="{57359652-22DA-494E-944A-94CBF4150AE8}" srcOrd="6" destOrd="0" presId="urn:microsoft.com/office/officeart/2005/8/layout/pList1"/>
    <dgm:cxn modelId="{6A2D983D-40B6-400E-93A9-D15237717065}" type="presParOf" srcId="{57359652-22DA-494E-944A-94CBF4150AE8}" destId="{68FEDBA5-7589-4BA4-B793-49A9FEBED451}" srcOrd="0" destOrd="0" presId="urn:microsoft.com/office/officeart/2005/8/layout/pList1"/>
    <dgm:cxn modelId="{2FA32465-1963-42D8-8AEB-C0C776240EEE}" type="presParOf" srcId="{57359652-22DA-494E-944A-94CBF4150AE8}" destId="{CFEE1968-017E-4F79-830D-B7C9D43E23C3}" srcOrd="1" destOrd="0" presId="urn:microsoft.com/office/officeart/2005/8/layout/pList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E94A338-68DE-4B0C-971A-A8D49D3E51E6}" type="doc">
      <dgm:prSet loTypeId="urn:microsoft.com/office/officeart/2005/8/layout/pList1" loCatId="list" qsTypeId="urn:microsoft.com/office/officeart/2005/8/quickstyle/simple1" qsCatId="simple" csTypeId="urn:microsoft.com/office/officeart/2005/8/colors/accent2_2" csCatId="accent2" phldr="1"/>
      <dgm:spPr/>
      <dgm:t>
        <a:bodyPr/>
        <a:lstStyle/>
        <a:p>
          <a:endParaRPr lang="en-US"/>
        </a:p>
      </dgm:t>
    </dgm:pt>
    <dgm:pt modelId="{BBF04210-6213-48BF-AAD1-8808EC9626CE}">
      <dgm:prSet custT="1"/>
      <dgm:spPr/>
      <dgm:t>
        <a:bodyPr/>
        <a:lstStyle/>
        <a:p>
          <a:r>
            <a:rPr lang="en-US" sz="2800" b="1"/>
            <a:t>Line Numbers</a:t>
          </a:r>
        </a:p>
      </dgm:t>
    </dgm:pt>
    <dgm:pt modelId="{DFE90546-8957-4D18-8D34-6BE8E91524BE}" type="parTrans" cxnId="{F7BC3EF9-8C69-45D2-B1CA-CB351FFE2AFC}">
      <dgm:prSet/>
      <dgm:spPr/>
      <dgm:t>
        <a:bodyPr/>
        <a:lstStyle/>
        <a:p>
          <a:endParaRPr lang="en-US" sz="2800" b="1"/>
        </a:p>
      </dgm:t>
    </dgm:pt>
    <dgm:pt modelId="{0E07D457-49EF-4DF2-80F6-2C114AEB1527}" type="sibTrans" cxnId="{F7BC3EF9-8C69-45D2-B1CA-CB351FFE2AFC}">
      <dgm:prSet/>
      <dgm:spPr/>
      <dgm:t>
        <a:bodyPr/>
        <a:lstStyle/>
        <a:p>
          <a:endParaRPr lang="en-US" sz="2800" b="1"/>
        </a:p>
      </dgm:t>
    </dgm:pt>
    <dgm:pt modelId="{7BC0C7F5-C4D1-4B3D-97BE-BB7FC39727BD}">
      <dgm:prSet custT="1"/>
      <dgm:spPr/>
      <dgm:t>
        <a:bodyPr/>
        <a:lstStyle/>
        <a:p>
          <a:r>
            <a:rPr lang="en-US" sz="2800" b="1" baseline="0"/>
            <a:t>Commands</a:t>
          </a:r>
          <a:br>
            <a:rPr lang="en-US" sz="2800" b="1" baseline="0"/>
          </a:br>
          <a:r>
            <a:rPr lang="en-US" sz="2800" b="0" baseline="0"/>
            <a:t>Functions</a:t>
          </a:r>
          <a:endParaRPr lang="en-US" sz="2800" b="0"/>
        </a:p>
      </dgm:t>
    </dgm:pt>
    <dgm:pt modelId="{D1C0A51F-A44A-4434-98CB-844B9F6D1676}" type="parTrans" cxnId="{53FDE8E2-78A1-4247-96FF-5A8DADD5B1E6}">
      <dgm:prSet/>
      <dgm:spPr/>
      <dgm:t>
        <a:bodyPr/>
        <a:lstStyle/>
        <a:p>
          <a:endParaRPr lang="en-US" sz="2800" b="1"/>
        </a:p>
      </dgm:t>
    </dgm:pt>
    <dgm:pt modelId="{6231E9E0-D6A8-46B0-887A-E2DB3BA8B507}" type="sibTrans" cxnId="{53FDE8E2-78A1-4247-96FF-5A8DADD5B1E6}">
      <dgm:prSet/>
      <dgm:spPr/>
      <dgm:t>
        <a:bodyPr/>
        <a:lstStyle/>
        <a:p>
          <a:endParaRPr lang="en-US" sz="2800" b="1"/>
        </a:p>
      </dgm:t>
    </dgm:pt>
    <dgm:pt modelId="{C1567CC2-9F23-4FF1-A973-CE4927F1D673}">
      <dgm:prSet custT="1"/>
      <dgm:spPr/>
      <dgm:t>
        <a:bodyPr/>
        <a:lstStyle/>
        <a:p>
          <a:r>
            <a:rPr lang="en-US" sz="2800" b="1"/>
            <a:t>Variable </a:t>
          </a:r>
          <a:r>
            <a:rPr lang="en-US" sz="2800" b="0"/>
            <a:t>Read/Write</a:t>
          </a:r>
        </a:p>
      </dgm:t>
    </dgm:pt>
    <dgm:pt modelId="{193E7E38-D449-4FD1-A56A-62606D8CC96D}" type="parTrans" cxnId="{FAAF61A5-5453-4540-8640-807D4FFCAD98}">
      <dgm:prSet/>
      <dgm:spPr/>
      <dgm:t>
        <a:bodyPr/>
        <a:lstStyle/>
        <a:p>
          <a:endParaRPr lang="en-US" sz="2800" b="1"/>
        </a:p>
      </dgm:t>
    </dgm:pt>
    <dgm:pt modelId="{3C75E37F-70E3-4E3B-92C7-FD67D41AA1B3}" type="sibTrans" cxnId="{FAAF61A5-5453-4540-8640-807D4FFCAD98}">
      <dgm:prSet/>
      <dgm:spPr/>
      <dgm:t>
        <a:bodyPr/>
        <a:lstStyle/>
        <a:p>
          <a:endParaRPr lang="en-US" sz="2800" b="1"/>
        </a:p>
      </dgm:t>
    </dgm:pt>
    <dgm:pt modelId="{6531B1BE-D270-4AF2-A375-0306438A22DF}" type="pres">
      <dgm:prSet presAssocID="{7E94A338-68DE-4B0C-971A-A8D49D3E51E6}" presName="Name0" presStyleCnt="0">
        <dgm:presLayoutVars>
          <dgm:dir/>
          <dgm:resizeHandles val="exact"/>
        </dgm:presLayoutVars>
      </dgm:prSet>
      <dgm:spPr/>
    </dgm:pt>
    <dgm:pt modelId="{A4070A3A-C610-4B68-8756-8100D189C689}" type="pres">
      <dgm:prSet presAssocID="{BBF04210-6213-48BF-AAD1-8808EC9626CE}" presName="compNode" presStyleCnt="0"/>
      <dgm:spPr/>
    </dgm:pt>
    <dgm:pt modelId="{F969F5CF-AEF0-4DD8-9A84-8A3CC6FD8A26}" type="pres">
      <dgm:prSet presAssocID="{BBF04210-6213-48BF-AAD1-8808EC9626CE}" presName="pictRect" presStyleLbl="node1" presStyleIdx="0" presStyleCnt="3" custScaleX="69497" custScaleY="69497" custLinFactNeighborX="0" custLinFactNeighborY="18138"/>
      <dgm:spPr>
        <a:blipFill>
          <a:blip xmlns:r="http://schemas.openxmlformats.org/officeDocument/2006/relationships" r:embed="rId1">
            <a:extLst>
              <a:ext uri="{96DAC541-7B7A-43D3-8B79-37D633B846F1}">
                <asvg:svgBlip xmlns:asvg="http://schemas.microsoft.com/office/drawing/2016/SVG/main" r:embed="rId2"/>
              </a:ext>
            </a:extLst>
          </a:blip>
          <a:srcRect/>
          <a:stretch>
            <a:fillRect t="-23000" b="-23000"/>
          </a:stretch>
        </a:blipFill>
      </dgm:spPr>
      <dgm:extLst>
        <a:ext uri="{E40237B7-FDA0-4F09-8148-C483321AD2D9}">
          <dgm14:cNvPr xmlns:dgm14="http://schemas.microsoft.com/office/drawing/2010/diagram" id="0" name="" descr="Ethernet with solid fill"/>
        </a:ext>
      </dgm:extLst>
    </dgm:pt>
    <dgm:pt modelId="{6E70C8D2-F17F-4CE3-A801-E75312B780F1}" type="pres">
      <dgm:prSet presAssocID="{BBF04210-6213-48BF-AAD1-8808EC9626CE}" presName="textRect" presStyleLbl="revTx" presStyleIdx="0" presStyleCnt="3">
        <dgm:presLayoutVars>
          <dgm:bulletEnabled val="1"/>
        </dgm:presLayoutVars>
      </dgm:prSet>
      <dgm:spPr/>
    </dgm:pt>
    <dgm:pt modelId="{2ED25FC4-7B62-4387-82C0-1D23B9EC5A4B}" type="pres">
      <dgm:prSet presAssocID="{0E07D457-49EF-4DF2-80F6-2C114AEB1527}" presName="sibTrans" presStyleLbl="sibTrans2D1" presStyleIdx="0" presStyleCnt="0"/>
      <dgm:spPr/>
    </dgm:pt>
    <dgm:pt modelId="{1AA658BA-18EA-45F1-99E0-A74631494EEF}" type="pres">
      <dgm:prSet presAssocID="{7BC0C7F5-C4D1-4B3D-97BE-BB7FC39727BD}" presName="compNode" presStyleCnt="0"/>
      <dgm:spPr/>
    </dgm:pt>
    <dgm:pt modelId="{15C74813-EFD9-4E16-9C1A-53599FD3A8FD}" type="pres">
      <dgm:prSet presAssocID="{7BC0C7F5-C4D1-4B3D-97BE-BB7FC39727BD}" presName="pictRect" presStyleLbl="node1" presStyleIdx="1" presStyleCnt="3" custScaleX="69497" custScaleY="69497" custLinFactNeighborX="0" custLinFactNeighborY="1813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23000" b="-23000"/>
          </a:stretch>
        </a:blipFill>
      </dgm:spPr>
      <dgm:extLst>
        <a:ext uri="{E40237B7-FDA0-4F09-8148-C483321AD2D9}">
          <dgm14:cNvPr xmlns:dgm14="http://schemas.microsoft.com/office/drawing/2010/diagram" id="0" name="" descr="Cmd Terminal with solid fill"/>
        </a:ext>
      </dgm:extLst>
    </dgm:pt>
    <dgm:pt modelId="{09D5ECF5-9562-4B23-83A8-19CF2E267FAB}" type="pres">
      <dgm:prSet presAssocID="{7BC0C7F5-C4D1-4B3D-97BE-BB7FC39727BD}" presName="textRect" presStyleLbl="revTx" presStyleIdx="1" presStyleCnt="3">
        <dgm:presLayoutVars>
          <dgm:bulletEnabled val="1"/>
        </dgm:presLayoutVars>
      </dgm:prSet>
      <dgm:spPr/>
    </dgm:pt>
    <dgm:pt modelId="{9DA5B870-F11B-4E2F-B1C9-FC3304E3B28E}" type="pres">
      <dgm:prSet presAssocID="{6231E9E0-D6A8-46B0-887A-E2DB3BA8B507}" presName="sibTrans" presStyleLbl="sibTrans2D1" presStyleIdx="0" presStyleCnt="0"/>
      <dgm:spPr/>
    </dgm:pt>
    <dgm:pt modelId="{926B0BA1-0F8B-4CA1-9007-471F0F9FC979}" type="pres">
      <dgm:prSet presAssocID="{C1567CC2-9F23-4FF1-A973-CE4927F1D673}" presName="compNode" presStyleCnt="0"/>
      <dgm:spPr/>
    </dgm:pt>
    <dgm:pt modelId="{27E63F5B-42AD-46DC-A081-7A91F5CEC10C}" type="pres">
      <dgm:prSet presAssocID="{C1567CC2-9F23-4FF1-A973-CE4927F1D673}" presName="pictRect" presStyleLbl="node1" presStyleIdx="2" presStyleCnt="3" custScaleX="69497" custScaleY="69497" custLinFactNeighborX="0" custLinFactNeighborY="18138"/>
      <dgm:spPr>
        <a:blipFill>
          <a:blip xmlns:r="http://schemas.openxmlformats.org/officeDocument/2006/relationships" r:embed="rId5">
            <a:extLst>
              <a:ext uri="{96DAC541-7B7A-43D3-8B79-37D633B846F1}">
                <asvg:svgBlip xmlns:asvg="http://schemas.microsoft.com/office/drawing/2016/SVG/main" r:embed="rId6"/>
              </a:ext>
            </a:extLst>
          </a:blip>
          <a:srcRect/>
          <a:stretch>
            <a:fillRect t="-23000" b="-23000"/>
          </a:stretch>
        </a:blipFill>
      </dgm:spPr>
      <dgm:extLst>
        <a:ext uri="{E40237B7-FDA0-4F09-8148-C483321AD2D9}">
          <dgm14:cNvPr xmlns:dgm14="http://schemas.microsoft.com/office/drawing/2010/diagram" id="0" name="" descr="Transfer with solid fill"/>
        </a:ext>
      </dgm:extLst>
    </dgm:pt>
    <dgm:pt modelId="{5897A515-15EA-42CB-A408-B905BC047158}" type="pres">
      <dgm:prSet presAssocID="{C1567CC2-9F23-4FF1-A973-CE4927F1D673}" presName="textRect" presStyleLbl="revTx" presStyleIdx="2" presStyleCnt="3">
        <dgm:presLayoutVars>
          <dgm:bulletEnabled val="1"/>
        </dgm:presLayoutVars>
      </dgm:prSet>
      <dgm:spPr/>
    </dgm:pt>
  </dgm:ptLst>
  <dgm:cxnLst>
    <dgm:cxn modelId="{E601A044-7240-4674-9229-EE314A552299}" type="presOf" srcId="{BBF04210-6213-48BF-AAD1-8808EC9626CE}" destId="{6E70C8D2-F17F-4CE3-A801-E75312B780F1}" srcOrd="0" destOrd="0" presId="urn:microsoft.com/office/officeart/2005/8/layout/pList1"/>
    <dgm:cxn modelId="{701C9266-B9CC-48AA-B1DC-AB7B60AB7F36}" type="presOf" srcId="{7BC0C7F5-C4D1-4B3D-97BE-BB7FC39727BD}" destId="{09D5ECF5-9562-4B23-83A8-19CF2E267FAB}" srcOrd="0" destOrd="0" presId="urn:microsoft.com/office/officeart/2005/8/layout/pList1"/>
    <dgm:cxn modelId="{FAAF61A5-5453-4540-8640-807D4FFCAD98}" srcId="{7E94A338-68DE-4B0C-971A-A8D49D3E51E6}" destId="{C1567CC2-9F23-4FF1-A973-CE4927F1D673}" srcOrd="2" destOrd="0" parTransId="{193E7E38-D449-4FD1-A56A-62606D8CC96D}" sibTransId="{3C75E37F-70E3-4E3B-92C7-FD67D41AA1B3}"/>
    <dgm:cxn modelId="{BE6EE8DC-E9F5-4564-B72F-DE19AABED99E}" type="presOf" srcId="{C1567CC2-9F23-4FF1-A973-CE4927F1D673}" destId="{5897A515-15EA-42CB-A408-B905BC047158}" srcOrd="0" destOrd="0" presId="urn:microsoft.com/office/officeart/2005/8/layout/pList1"/>
    <dgm:cxn modelId="{4F99AEE2-0334-40B3-A1D1-3116761FC206}" type="presOf" srcId="{7E94A338-68DE-4B0C-971A-A8D49D3E51E6}" destId="{6531B1BE-D270-4AF2-A375-0306438A22DF}" srcOrd="0" destOrd="0" presId="urn:microsoft.com/office/officeart/2005/8/layout/pList1"/>
    <dgm:cxn modelId="{53FDE8E2-78A1-4247-96FF-5A8DADD5B1E6}" srcId="{7E94A338-68DE-4B0C-971A-A8D49D3E51E6}" destId="{7BC0C7F5-C4D1-4B3D-97BE-BB7FC39727BD}" srcOrd="1" destOrd="0" parTransId="{D1C0A51F-A44A-4434-98CB-844B9F6D1676}" sibTransId="{6231E9E0-D6A8-46B0-887A-E2DB3BA8B507}"/>
    <dgm:cxn modelId="{4BFB1BEB-5D04-4282-9CF1-131C970F32FF}" type="presOf" srcId="{0E07D457-49EF-4DF2-80F6-2C114AEB1527}" destId="{2ED25FC4-7B62-4387-82C0-1D23B9EC5A4B}" srcOrd="0" destOrd="0" presId="urn:microsoft.com/office/officeart/2005/8/layout/pList1"/>
    <dgm:cxn modelId="{D5E1FAF6-CD13-4755-B8D2-8BFB585A57D4}" type="presOf" srcId="{6231E9E0-D6A8-46B0-887A-E2DB3BA8B507}" destId="{9DA5B870-F11B-4E2F-B1C9-FC3304E3B28E}" srcOrd="0" destOrd="0" presId="urn:microsoft.com/office/officeart/2005/8/layout/pList1"/>
    <dgm:cxn modelId="{F7BC3EF9-8C69-45D2-B1CA-CB351FFE2AFC}" srcId="{7E94A338-68DE-4B0C-971A-A8D49D3E51E6}" destId="{BBF04210-6213-48BF-AAD1-8808EC9626CE}" srcOrd="0" destOrd="0" parTransId="{DFE90546-8957-4D18-8D34-6BE8E91524BE}" sibTransId="{0E07D457-49EF-4DF2-80F6-2C114AEB1527}"/>
    <dgm:cxn modelId="{E7705E20-AD57-4901-8417-901AAD7DC322}" type="presParOf" srcId="{6531B1BE-D270-4AF2-A375-0306438A22DF}" destId="{A4070A3A-C610-4B68-8756-8100D189C689}" srcOrd="0" destOrd="0" presId="urn:microsoft.com/office/officeart/2005/8/layout/pList1"/>
    <dgm:cxn modelId="{E99F3FDA-A215-416D-883E-C1A09D9936D2}" type="presParOf" srcId="{A4070A3A-C610-4B68-8756-8100D189C689}" destId="{F969F5CF-AEF0-4DD8-9A84-8A3CC6FD8A26}" srcOrd="0" destOrd="0" presId="urn:microsoft.com/office/officeart/2005/8/layout/pList1"/>
    <dgm:cxn modelId="{7E0A7505-5341-4CC1-8B66-4F94BF94841A}" type="presParOf" srcId="{A4070A3A-C610-4B68-8756-8100D189C689}" destId="{6E70C8D2-F17F-4CE3-A801-E75312B780F1}" srcOrd="1" destOrd="0" presId="urn:microsoft.com/office/officeart/2005/8/layout/pList1"/>
    <dgm:cxn modelId="{2785CE3F-29BA-4C29-A7C7-B72D25507BB1}" type="presParOf" srcId="{6531B1BE-D270-4AF2-A375-0306438A22DF}" destId="{2ED25FC4-7B62-4387-82C0-1D23B9EC5A4B}" srcOrd="1" destOrd="0" presId="urn:microsoft.com/office/officeart/2005/8/layout/pList1"/>
    <dgm:cxn modelId="{FC344279-BF5F-4E8F-AE6D-05940021EBE1}" type="presParOf" srcId="{6531B1BE-D270-4AF2-A375-0306438A22DF}" destId="{1AA658BA-18EA-45F1-99E0-A74631494EEF}" srcOrd="2" destOrd="0" presId="urn:microsoft.com/office/officeart/2005/8/layout/pList1"/>
    <dgm:cxn modelId="{71363BD6-12C1-4B70-B130-95470B1B96E3}" type="presParOf" srcId="{1AA658BA-18EA-45F1-99E0-A74631494EEF}" destId="{15C74813-EFD9-4E16-9C1A-53599FD3A8FD}" srcOrd="0" destOrd="0" presId="urn:microsoft.com/office/officeart/2005/8/layout/pList1"/>
    <dgm:cxn modelId="{2C07F596-6CA9-4349-BC72-AB6D928F4258}" type="presParOf" srcId="{1AA658BA-18EA-45F1-99E0-A74631494EEF}" destId="{09D5ECF5-9562-4B23-83A8-19CF2E267FAB}" srcOrd="1" destOrd="0" presId="urn:microsoft.com/office/officeart/2005/8/layout/pList1"/>
    <dgm:cxn modelId="{4ACFDFEE-8A7E-40D5-8E62-8FC217DADA26}" type="presParOf" srcId="{6531B1BE-D270-4AF2-A375-0306438A22DF}" destId="{9DA5B870-F11B-4E2F-B1C9-FC3304E3B28E}" srcOrd="3" destOrd="0" presId="urn:microsoft.com/office/officeart/2005/8/layout/pList1"/>
    <dgm:cxn modelId="{5C28B818-4368-48A6-B1E8-060ABD314C5C}" type="presParOf" srcId="{6531B1BE-D270-4AF2-A375-0306438A22DF}" destId="{926B0BA1-0F8B-4CA1-9007-471F0F9FC979}" srcOrd="4" destOrd="0" presId="urn:microsoft.com/office/officeart/2005/8/layout/pList1"/>
    <dgm:cxn modelId="{0DC35E0D-AD94-46F9-9D49-C32F20CF3EAF}" type="presParOf" srcId="{926B0BA1-0F8B-4CA1-9007-471F0F9FC979}" destId="{27E63F5B-42AD-46DC-A081-7A91F5CEC10C}" srcOrd="0" destOrd="0" presId="urn:microsoft.com/office/officeart/2005/8/layout/pList1"/>
    <dgm:cxn modelId="{F2967883-D775-47B7-93C8-88373C00FCFE}" type="presParOf" srcId="{926B0BA1-0F8B-4CA1-9007-471F0F9FC979}" destId="{5897A515-15EA-42CB-A408-B905BC047158}" srcOrd="1" destOrd="0" presId="urn:microsoft.com/office/officeart/2005/8/layout/p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8E01F1A-69B1-46C4-ACB6-C80606B31825}"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F725BB86-99D0-4B0D-810B-15D9BF747800}">
      <dgm:prSet custT="1"/>
      <dgm:spPr/>
      <dgm:t>
        <a:bodyPr/>
        <a:lstStyle/>
        <a:p>
          <a:pPr algn="ctr"/>
          <a:r>
            <a:rPr lang="en-US" sz="2800" baseline="0"/>
            <a:t>Point in the code to </a:t>
          </a:r>
          <a:r>
            <a:rPr lang="en-US" sz="2800" b="1" baseline="0"/>
            <a:t>suspend</a:t>
          </a:r>
          <a:r>
            <a:rPr lang="en-US" sz="2800" baseline="0"/>
            <a:t> a script and start the debugger</a:t>
          </a:r>
        </a:p>
      </dgm:t>
    </dgm:pt>
    <dgm:pt modelId="{373D1B98-8EF7-4FCC-A1C8-3F9DCC699691}" type="parTrans" cxnId="{639BED61-DEA1-48DA-BE32-29260A1DFB7C}">
      <dgm:prSet/>
      <dgm:spPr/>
      <dgm:t>
        <a:bodyPr/>
        <a:lstStyle/>
        <a:p>
          <a:pPr algn="ctr"/>
          <a:endParaRPr lang="en-US" sz="2800"/>
        </a:p>
      </dgm:t>
    </dgm:pt>
    <dgm:pt modelId="{38B750E8-7C44-42CE-B1AA-41EE6269D5B0}" type="sibTrans" cxnId="{639BED61-DEA1-48DA-BE32-29260A1DFB7C}">
      <dgm:prSet/>
      <dgm:spPr/>
      <dgm:t>
        <a:bodyPr/>
        <a:lstStyle/>
        <a:p>
          <a:pPr algn="ctr"/>
          <a:endParaRPr lang="en-US" sz="2800"/>
        </a:p>
      </dgm:t>
    </dgm:pt>
    <dgm:pt modelId="{2AE16281-8929-460C-9DB1-885BE2ABBFEF}">
      <dgm:prSet custT="1"/>
      <dgm:spPr/>
      <dgm:t>
        <a:bodyPr/>
        <a:lstStyle/>
        <a:p>
          <a:pPr algn="ctr"/>
          <a:r>
            <a:rPr lang="en-US" sz="2800" b="1" baseline="0"/>
            <a:t>Created</a:t>
          </a:r>
          <a:r>
            <a:rPr lang="en-US" sz="2800" baseline="0"/>
            <a:t> in GUI or command line with Set-</a:t>
          </a:r>
          <a:r>
            <a:rPr lang="en-US" sz="2800" baseline="0" err="1"/>
            <a:t>PSBreakpoint</a:t>
          </a:r>
          <a:endParaRPr lang="en-US" sz="2800" baseline="0"/>
        </a:p>
      </dgm:t>
    </dgm:pt>
    <dgm:pt modelId="{F13E4B24-5CA1-4C24-902D-CF4E3DE4E756}" type="parTrans" cxnId="{C383D48A-B8AF-4193-92C4-5311E1521A72}">
      <dgm:prSet/>
      <dgm:spPr/>
      <dgm:t>
        <a:bodyPr/>
        <a:lstStyle/>
        <a:p>
          <a:pPr algn="ctr"/>
          <a:endParaRPr lang="en-US" sz="2800"/>
        </a:p>
      </dgm:t>
    </dgm:pt>
    <dgm:pt modelId="{EFC9CE47-AF28-4428-B661-6A9B00B0B7C4}" type="sibTrans" cxnId="{C383D48A-B8AF-4193-92C4-5311E1521A72}">
      <dgm:prSet/>
      <dgm:spPr/>
      <dgm:t>
        <a:bodyPr/>
        <a:lstStyle/>
        <a:p>
          <a:pPr algn="ctr"/>
          <a:endParaRPr lang="en-US" sz="2800"/>
        </a:p>
      </dgm:t>
    </dgm:pt>
    <dgm:pt modelId="{1290E9DC-F606-48E8-BC2B-F773566164E8}" type="pres">
      <dgm:prSet presAssocID="{08E01F1A-69B1-46C4-ACB6-C80606B31825}" presName="vert0" presStyleCnt="0">
        <dgm:presLayoutVars>
          <dgm:dir/>
          <dgm:animOne val="branch"/>
          <dgm:animLvl val="lvl"/>
        </dgm:presLayoutVars>
      </dgm:prSet>
      <dgm:spPr/>
    </dgm:pt>
    <dgm:pt modelId="{31D48FFE-44BC-4578-80A9-CD3A619C0F76}" type="pres">
      <dgm:prSet presAssocID="{F725BB86-99D0-4B0D-810B-15D9BF747800}" presName="thickLine" presStyleLbl="alignNode1" presStyleIdx="0" presStyleCnt="2"/>
      <dgm:spPr/>
    </dgm:pt>
    <dgm:pt modelId="{E8578DC9-3C4B-4194-AEEA-DE4EDA01A5A1}" type="pres">
      <dgm:prSet presAssocID="{F725BB86-99D0-4B0D-810B-15D9BF747800}" presName="horz1" presStyleCnt="0"/>
      <dgm:spPr/>
    </dgm:pt>
    <dgm:pt modelId="{7F35133D-17BE-4D70-A2BC-2F7A4C002797}" type="pres">
      <dgm:prSet presAssocID="{F725BB86-99D0-4B0D-810B-15D9BF747800}" presName="tx1" presStyleLbl="revTx" presStyleIdx="0" presStyleCnt="2"/>
      <dgm:spPr/>
    </dgm:pt>
    <dgm:pt modelId="{0EBC35C4-69CB-45AF-8CA7-30B8EB7A07B6}" type="pres">
      <dgm:prSet presAssocID="{F725BB86-99D0-4B0D-810B-15D9BF747800}" presName="vert1" presStyleCnt="0"/>
      <dgm:spPr/>
    </dgm:pt>
    <dgm:pt modelId="{7EAEB83B-81A6-4175-A2A2-1DEC5C64311B}" type="pres">
      <dgm:prSet presAssocID="{2AE16281-8929-460C-9DB1-885BE2ABBFEF}" presName="thickLine" presStyleLbl="alignNode1" presStyleIdx="1" presStyleCnt="2"/>
      <dgm:spPr/>
    </dgm:pt>
    <dgm:pt modelId="{236BC367-1634-4D05-AD73-FD7E67AB96D1}" type="pres">
      <dgm:prSet presAssocID="{2AE16281-8929-460C-9DB1-885BE2ABBFEF}" presName="horz1" presStyleCnt="0"/>
      <dgm:spPr/>
    </dgm:pt>
    <dgm:pt modelId="{5D233AC8-9BB3-4B43-A2F4-A9CC00A97FC8}" type="pres">
      <dgm:prSet presAssocID="{2AE16281-8929-460C-9DB1-885BE2ABBFEF}" presName="tx1" presStyleLbl="revTx" presStyleIdx="1" presStyleCnt="2"/>
      <dgm:spPr/>
    </dgm:pt>
    <dgm:pt modelId="{CDB5F671-44A4-478D-993D-DCF4504190E2}" type="pres">
      <dgm:prSet presAssocID="{2AE16281-8929-460C-9DB1-885BE2ABBFEF}" presName="vert1" presStyleCnt="0"/>
      <dgm:spPr/>
    </dgm:pt>
  </dgm:ptLst>
  <dgm:cxnLst>
    <dgm:cxn modelId="{639BED61-DEA1-48DA-BE32-29260A1DFB7C}" srcId="{08E01F1A-69B1-46C4-ACB6-C80606B31825}" destId="{F725BB86-99D0-4B0D-810B-15D9BF747800}" srcOrd="0" destOrd="0" parTransId="{373D1B98-8EF7-4FCC-A1C8-3F9DCC699691}" sibTransId="{38B750E8-7C44-42CE-B1AA-41EE6269D5B0}"/>
    <dgm:cxn modelId="{C383D48A-B8AF-4193-92C4-5311E1521A72}" srcId="{08E01F1A-69B1-46C4-ACB6-C80606B31825}" destId="{2AE16281-8929-460C-9DB1-885BE2ABBFEF}" srcOrd="1" destOrd="0" parTransId="{F13E4B24-5CA1-4C24-902D-CF4E3DE4E756}" sibTransId="{EFC9CE47-AF28-4428-B661-6A9B00B0B7C4}"/>
    <dgm:cxn modelId="{0A86B79D-8F82-4530-9750-23EF193092B6}" type="presOf" srcId="{2AE16281-8929-460C-9DB1-885BE2ABBFEF}" destId="{5D233AC8-9BB3-4B43-A2F4-A9CC00A97FC8}" srcOrd="0" destOrd="0" presId="urn:microsoft.com/office/officeart/2008/layout/LinedList"/>
    <dgm:cxn modelId="{733EB9A2-CDCB-4A8A-98BF-C5CABD8ADB0D}" type="presOf" srcId="{F725BB86-99D0-4B0D-810B-15D9BF747800}" destId="{7F35133D-17BE-4D70-A2BC-2F7A4C002797}" srcOrd="0" destOrd="0" presId="urn:microsoft.com/office/officeart/2008/layout/LinedList"/>
    <dgm:cxn modelId="{04F97AAC-CA4A-4545-8C01-449D2E3EF849}" type="presOf" srcId="{08E01F1A-69B1-46C4-ACB6-C80606B31825}" destId="{1290E9DC-F606-48E8-BC2B-F773566164E8}" srcOrd="0" destOrd="0" presId="urn:microsoft.com/office/officeart/2008/layout/LinedList"/>
    <dgm:cxn modelId="{34687F52-BCC8-4133-B0C8-F2A406DA7ACB}" type="presParOf" srcId="{1290E9DC-F606-48E8-BC2B-F773566164E8}" destId="{31D48FFE-44BC-4578-80A9-CD3A619C0F76}" srcOrd="0" destOrd="0" presId="urn:microsoft.com/office/officeart/2008/layout/LinedList"/>
    <dgm:cxn modelId="{B3A7DB74-1669-46FA-8554-D5708E53E63B}" type="presParOf" srcId="{1290E9DC-F606-48E8-BC2B-F773566164E8}" destId="{E8578DC9-3C4B-4194-AEEA-DE4EDA01A5A1}" srcOrd="1" destOrd="0" presId="urn:microsoft.com/office/officeart/2008/layout/LinedList"/>
    <dgm:cxn modelId="{B412E3F8-901E-4EBC-9EA5-9CCBD3F44C58}" type="presParOf" srcId="{E8578DC9-3C4B-4194-AEEA-DE4EDA01A5A1}" destId="{7F35133D-17BE-4D70-A2BC-2F7A4C002797}" srcOrd="0" destOrd="0" presId="urn:microsoft.com/office/officeart/2008/layout/LinedList"/>
    <dgm:cxn modelId="{8A6B7B57-6896-4743-AE50-E1DB502B74E3}" type="presParOf" srcId="{E8578DC9-3C4B-4194-AEEA-DE4EDA01A5A1}" destId="{0EBC35C4-69CB-45AF-8CA7-30B8EB7A07B6}" srcOrd="1" destOrd="0" presId="urn:microsoft.com/office/officeart/2008/layout/LinedList"/>
    <dgm:cxn modelId="{5E9913FA-8CCB-4AE2-82BA-818D3FEE7854}" type="presParOf" srcId="{1290E9DC-F606-48E8-BC2B-F773566164E8}" destId="{7EAEB83B-81A6-4175-A2A2-1DEC5C64311B}" srcOrd="2" destOrd="0" presId="urn:microsoft.com/office/officeart/2008/layout/LinedList"/>
    <dgm:cxn modelId="{A916961A-6B04-4160-BB0D-EFE832D93FF7}" type="presParOf" srcId="{1290E9DC-F606-48E8-BC2B-F773566164E8}" destId="{236BC367-1634-4D05-AD73-FD7E67AB96D1}" srcOrd="3" destOrd="0" presId="urn:microsoft.com/office/officeart/2008/layout/LinedList"/>
    <dgm:cxn modelId="{EF625847-A911-4D09-ACC3-D0051A9AC01D}" type="presParOf" srcId="{236BC367-1634-4D05-AD73-FD7E67AB96D1}" destId="{5D233AC8-9BB3-4B43-A2F4-A9CC00A97FC8}" srcOrd="0" destOrd="0" presId="urn:microsoft.com/office/officeart/2008/layout/LinedList"/>
    <dgm:cxn modelId="{5E29DAC4-4C16-42A1-9C68-3C42800F65CF}" type="presParOf" srcId="{236BC367-1634-4D05-AD73-FD7E67AB96D1}" destId="{CDB5F671-44A4-478D-993D-DCF4504190E2}" srcOrd="1"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8E01F1A-69B1-46C4-ACB6-C80606B31825}"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F725BB86-99D0-4B0D-810B-15D9BF747800}">
      <dgm:prSet custT="1"/>
      <dgm:spPr/>
      <dgm:t>
        <a:bodyPr/>
        <a:lstStyle/>
        <a:p>
          <a:r>
            <a:rPr lang="en-US" sz="2800" baseline="0"/>
            <a:t>Create</a:t>
          </a:r>
        </a:p>
      </dgm:t>
    </dgm:pt>
    <dgm:pt modelId="{373D1B98-8EF7-4FCC-A1C8-3F9DCC699691}" type="parTrans" cxnId="{639BED61-DEA1-48DA-BE32-29260A1DFB7C}">
      <dgm:prSet/>
      <dgm:spPr/>
      <dgm:t>
        <a:bodyPr/>
        <a:lstStyle/>
        <a:p>
          <a:endParaRPr lang="en-US" sz="2800"/>
        </a:p>
      </dgm:t>
    </dgm:pt>
    <dgm:pt modelId="{38B750E8-7C44-42CE-B1AA-41EE6269D5B0}" type="sibTrans" cxnId="{639BED61-DEA1-48DA-BE32-29260A1DFB7C}">
      <dgm:prSet/>
      <dgm:spPr/>
      <dgm:t>
        <a:bodyPr/>
        <a:lstStyle/>
        <a:p>
          <a:endParaRPr lang="en-US" sz="2800"/>
        </a:p>
      </dgm:t>
    </dgm:pt>
    <dgm:pt modelId="{3F5A7502-0EE3-4E98-8702-D3262EDD7D87}">
      <dgm:prSet custT="1"/>
      <dgm:spPr/>
      <dgm:t>
        <a:bodyPr/>
        <a:lstStyle/>
        <a:p>
          <a:pPr>
            <a:buNone/>
          </a:pPr>
          <a:r>
            <a:rPr lang="en-US" sz="2800" baseline="0"/>
            <a:t>Set-</a:t>
          </a:r>
          <a:r>
            <a:rPr lang="en-US" sz="2800" baseline="0" err="1"/>
            <a:t>PSBreakpoint</a:t>
          </a:r>
          <a:endParaRPr lang="en-US" sz="2800" baseline="0"/>
        </a:p>
      </dgm:t>
    </dgm:pt>
    <dgm:pt modelId="{88524A33-99A3-4C93-B4AF-2BD50D3D225D}" type="parTrans" cxnId="{927BB43E-4EB5-4C9F-BDF3-AFC329CD7AAB}">
      <dgm:prSet/>
      <dgm:spPr/>
      <dgm:t>
        <a:bodyPr/>
        <a:lstStyle/>
        <a:p>
          <a:endParaRPr lang="en-US"/>
        </a:p>
      </dgm:t>
    </dgm:pt>
    <dgm:pt modelId="{A703E2EB-3D27-4D3A-99F0-A0632F5C66A4}" type="sibTrans" cxnId="{927BB43E-4EB5-4C9F-BDF3-AFC329CD7AAB}">
      <dgm:prSet/>
      <dgm:spPr/>
      <dgm:t>
        <a:bodyPr/>
        <a:lstStyle/>
        <a:p>
          <a:endParaRPr lang="en-US"/>
        </a:p>
      </dgm:t>
    </dgm:pt>
    <dgm:pt modelId="{AB3BC3E6-1BFB-4A50-BE68-68401C20D1E8}">
      <dgm:prSet custT="1"/>
      <dgm:spPr/>
      <dgm:t>
        <a:bodyPr/>
        <a:lstStyle/>
        <a:p>
          <a:pPr>
            <a:buNone/>
          </a:pPr>
          <a:r>
            <a:rPr lang="en-US" sz="2800" baseline="0"/>
            <a:t>Remove-</a:t>
          </a:r>
          <a:r>
            <a:rPr lang="en-US" sz="2800" baseline="0" err="1"/>
            <a:t>PSBreakPoint</a:t>
          </a:r>
          <a:endParaRPr lang="en-US" sz="2800" baseline="0"/>
        </a:p>
      </dgm:t>
    </dgm:pt>
    <dgm:pt modelId="{8F27179B-8DD4-43FB-9310-70B9E29BFF1D}" type="parTrans" cxnId="{68811382-8B67-4C0F-96D1-44DC2F7118CD}">
      <dgm:prSet/>
      <dgm:spPr/>
      <dgm:t>
        <a:bodyPr/>
        <a:lstStyle/>
        <a:p>
          <a:endParaRPr lang="en-US"/>
        </a:p>
      </dgm:t>
    </dgm:pt>
    <dgm:pt modelId="{EDD4A940-0E4F-437A-A9AA-B27E5C419D6D}" type="sibTrans" cxnId="{68811382-8B67-4C0F-96D1-44DC2F7118CD}">
      <dgm:prSet/>
      <dgm:spPr/>
      <dgm:t>
        <a:bodyPr/>
        <a:lstStyle/>
        <a:p>
          <a:endParaRPr lang="en-US"/>
        </a:p>
      </dgm:t>
    </dgm:pt>
    <dgm:pt modelId="{7DC3BB30-E774-40A3-BF61-9FD0CDE6F4F0}">
      <dgm:prSet custT="1"/>
      <dgm:spPr/>
      <dgm:t>
        <a:bodyPr/>
        <a:lstStyle/>
        <a:p>
          <a:pPr>
            <a:buNone/>
          </a:pPr>
          <a:r>
            <a:rPr lang="en-US" sz="2800" baseline="0"/>
            <a:t>Get-</a:t>
          </a:r>
          <a:r>
            <a:rPr lang="en-US" sz="2800" baseline="0" err="1"/>
            <a:t>PSBreakpoint</a:t>
          </a:r>
          <a:endParaRPr lang="en-US" sz="2800" baseline="0"/>
        </a:p>
      </dgm:t>
    </dgm:pt>
    <dgm:pt modelId="{94626AFF-D3D6-4811-8B35-936B5E826E07}" type="parTrans" cxnId="{4D2A6242-AF5F-45F7-8016-86CB5FBAD38D}">
      <dgm:prSet/>
      <dgm:spPr/>
      <dgm:t>
        <a:bodyPr/>
        <a:lstStyle/>
        <a:p>
          <a:endParaRPr lang="en-US"/>
        </a:p>
      </dgm:t>
    </dgm:pt>
    <dgm:pt modelId="{D08C39A0-5DB1-4B8E-B128-5939387099BB}" type="sibTrans" cxnId="{4D2A6242-AF5F-45F7-8016-86CB5FBAD38D}">
      <dgm:prSet/>
      <dgm:spPr/>
      <dgm:t>
        <a:bodyPr/>
        <a:lstStyle/>
        <a:p>
          <a:endParaRPr lang="en-US"/>
        </a:p>
      </dgm:t>
    </dgm:pt>
    <dgm:pt modelId="{5BB3B2E1-30E8-40A7-91EF-3500DE97C0D5}">
      <dgm:prSet custT="1"/>
      <dgm:spPr/>
      <dgm:t>
        <a:bodyPr/>
        <a:lstStyle/>
        <a:p>
          <a:pPr>
            <a:buNone/>
          </a:pPr>
          <a:r>
            <a:rPr lang="en-US" sz="2800" baseline="0"/>
            <a:t>Enable-</a:t>
          </a:r>
          <a:r>
            <a:rPr lang="en-US" sz="2800" baseline="0" err="1"/>
            <a:t>PSBreakpoint</a:t>
          </a:r>
          <a:endParaRPr lang="en-US" sz="2800" baseline="0"/>
        </a:p>
      </dgm:t>
    </dgm:pt>
    <dgm:pt modelId="{E8F05DF5-AEDF-4D40-BDC0-B663D7065213}" type="parTrans" cxnId="{2544FEF1-C4C6-438F-BCDF-8EB896D9B92B}">
      <dgm:prSet/>
      <dgm:spPr/>
      <dgm:t>
        <a:bodyPr/>
        <a:lstStyle/>
        <a:p>
          <a:endParaRPr lang="en-US"/>
        </a:p>
      </dgm:t>
    </dgm:pt>
    <dgm:pt modelId="{6D90C264-CCC1-48FB-BA2A-F163D77623D3}" type="sibTrans" cxnId="{2544FEF1-C4C6-438F-BCDF-8EB896D9B92B}">
      <dgm:prSet/>
      <dgm:spPr/>
      <dgm:t>
        <a:bodyPr/>
        <a:lstStyle/>
        <a:p>
          <a:endParaRPr lang="en-US"/>
        </a:p>
      </dgm:t>
    </dgm:pt>
    <dgm:pt modelId="{84847A26-A938-4E82-B1CE-2B3C778E9633}">
      <dgm:prSet custT="1"/>
      <dgm:spPr/>
      <dgm:t>
        <a:bodyPr/>
        <a:lstStyle/>
        <a:p>
          <a:pPr>
            <a:buNone/>
          </a:pPr>
          <a:r>
            <a:rPr lang="en-US" sz="2800" baseline="0"/>
            <a:t>ISE (</a:t>
          </a:r>
          <a:r>
            <a:rPr lang="en-US" sz="2800" b="0" baseline="0"/>
            <a:t>line only</a:t>
          </a:r>
          <a:r>
            <a:rPr lang="en-US" sz="2800" baseline="0"/>
            <a:t>)</a:t>
          </a:r>
        </a:p>
      </dgm:t>
    </dgm:pt>
    <dgm:pt modelId="{0A37FE1A-E98C-4815-90BF-598998401DB4}" type="parTrans" cxnId="{F17D11A2-1071-48A7-9F89-D37DF220917B}">
      <dgm:prSet/>
      <dgm:spPr/>
      <dgm:t>
        <a:bodyPr/>
        <a:lstStyle/>
        <a:p>
          <a:endParaRPr lang="en-US"/>
        </a:p>
      </dgm:t>
    </dgm:pt>
    <dgm:pt modelId="{C0A1CC3A-16E8-4D1A-A8C5-657C9665BE32}" type="sibTrans" cxnId="{F17D11A2-1071-48A7-9F89-D37DF220917B}">
      <dgm:prSet/>
      <dgm:spPr/>
      <dgm:t>
        <a:bodyPr/>
        <a:lstStyle/>
        <a:p>
          <a:endParaRPr lang="en-US"/>
        </a:p>
      </dgm:t>
    </dgm:pt>
    <dgm:pt modelId="{72A7614C-0464-4524-983B-F2EC192677BA}">
      <dgm:prSet custT="1"/>
      <dgm:spPr/>
      <dgm:t>
        <a:bodyPr/>
        <a:lstStyle/>
        <a:p>
          <a:r>
            <a:rPr lang="en-US" sz="2800" baseline="0"/>
            <a:t>Manage</a:t>
          </a:r>
        </a:p>
      </dgm:t>
    </dgm:pt>
    <dgm:pt modelId="{ACD58CC5-D4BD-4C1A-AA81-D2C6047CC335}" type="parTrans" cxnId="{AE527B39-819E-4CAC-9270-4A56BB6ADDB1}">
      <dgm:prSet/>
      <dgm:spPr/>
      <dgm:t>
        <a:bodyPr/>
        <a:lstStyle/>
        <a:p>
          <a:endParaRPr lang="en-US"/>
        </a:p>
      </dgm:t>
    </dgm:pt>
    <dgm:pt modelId="{A3BEB4A7-C44A-4947-9FEA-90A8C4F2C059}" type="sibTrans" cxnId="{AE527B39-819E-4CAC-9270-4A56BB6ADDB1}">
      <dgm:prSet/>
      <dgm:spPr/>
      <dgm:t>
        <a:bodyPr/>
        <a:lstStyle/>
        <a:p>
          <a:endParaRPr lang="en-US"/>
        </a:p>
      </dgm:t>
    </dgm:pt>
    <dgm:pt modelId="{F12F478D-8470-4B8B-9693-D63ADD2165FD}">
      <dgm:prSet custT="1"/>
      <dgm:spPr/>
      <dgm:t>
        <a:bodyPr/>
        <a:lstStyle/>
        <a:p>
          <a:pPr>
            <a:buNone/>
          </a:pPr>
          <a:r>
            <a:rPr lang="en-US" sz="2800" baseline="0"/>
            <a:t>Disable-</a:t>
          </a:r>
          <a:r>
            <a:rPr lang="en-US" sz="2800" baseline="0" err="1"/>
            <a:t>PSbreakpoint</a:t>
          </a:r>
          <a:endParaRPr lang="en-US" sz="2800" baseline="0"/>
        </a:p>
      </dgm:t>
    </dgm:pt>
    <dgm:pt modelId="{48530384-990F-45E1-8162-B737BD516222}" type="parTrans" cxnId="{DEC867D5-F0E9-495E-A36B-5A71D48A41C1}">
      <dgm:prSet/>
      <dgm:spPr/>
      <dgm:t>
        <a:bodyPr/>
        <a:lstStyle/>
        <a:p>
          <a:endParaRPr lang="en-US"/>
        </a:p>
      </dgm:t>
    </dgm:pt>
    <dgm:pt modelId="{692746F5-34B0-4A69-8D7A-E53A60726657}" type="sibTrans" cxnId="{DEC867D5-F0E9-495E-A36B-5A71D48A41C1}">
      <dgm:prSet/>
      <dgm:spPr/>
      <dgm:t>
        <a:bodyPr/>
        <a:lstStyle/>
        <a:p>
          <a:endParaRPr lang="en-US"/>
        </a:p>
      </dgm:t>
    </dgm:pt>
    <dgm:pt modelId="{3548B8FE-A0EE-453E-ADF9-4FF7E4B9FC23}" type="pres">
      <dgm:prSet presAssocID="{08E01F1A-69B1-46C4-ACB6-C80606B31825}" presName="linear" presStyleCnt="0">
        <dgm:presLayoutVars>
          <dgm:dir/>
          <dgm:animLvl val="lvl"/>
          <dgm:resizeHandles val="exact"/>
        </dgm:presLayoutVars>
      </dgm:prSet>
      <dgm:spPr/>
    </dgm:pt>
    <dgm:pt modelId="{CCC0C333-74A1-4885-938D-262A21011BFF}" type="pres">
      <dgm:prSet presAssocID="{F725BB86-99D0-4B0D-810B-15D9BF747800}" presName="parentLin" presStyleCnt="0"/>
      <dgm:spPr/>
    </dgm:pt>
    <dgm:pt modelId="{217BF941-F6E4-4F9A-B3CE-1E78E2384969}" type="pres">
      <dgm:prSet presAssocID="{F725BB86-99D0-4B0D-810B-15D9BF747800}" presName="parentLeftMargin" presStyleLbl="node1" presStyleIdx="0" presStyleCnt="2"/>
      <dgm:spPr/>
    </dgm:pt>
    <dgm:pt modelId="{BA1DF8F0-4B63-4651-BF06-4B7E26308213}" type="pres">
      <dgm:prSet presAssocID="{F725BB86-99D0-4B0D-810B-15D9BF747800}" presName="parentText" presStyleLbl="node1" presStyleIdx="0" presStyleCnt="2">
        <dgm:presLayoutVars>
          <dgm:chMax val="0"/>
          <dgm:bulletEnabled val="1"/>
        </dgm:presLayoutVars>
      </dgm:prSet>
      <dgm:spPr/>
    </dgm:pt>
    <dgm:pt modelId="{65F266CA-6C02-487E-AECA-478BBB92A4A2}" type="pres">
      <dgm:prSet presAssocID="{F725BB86-99D0-4B0D-810B-15D9BF747800}" presName="negativeSpace" presStyleCnt="0"/>
      <dgm:spPr/>
    </dgm:pt>
    <dgm:pt modelId="{1CA33950-739F-4965-8793-EBA1AC8FC0FB}" type="pres">
      <dgm:prSet presAssocID="{F725BB86-99D0-4B0D-810B-15D9BF747800}" presName="childText" presStyleLbl="conFgAcc1" presStyleIdx="0" presStyleCnt="2">
        <dgm:presLayoutVars>
          <dgm:bulletEnabled val="1"/>
        </dgm:presLayoutVars>
      </dgm:prSet>
      <dgm:spPr/>
    </dgm:pt>
    <dgm:pt modelId="{9E15C0F2-E82F-4B02-956A-C0BF8C41192C}" type="pres">
      <dgm:prSet presAssocID="{38B750E8-7C44-42CE-B1AA-41EE6269D5B0}" presName="spaceBetweenRectangles" presStyleCnt="0"/>
      <dgm:spPr/>
    </dgm:pt>
    <dgm:pt modelId="{506B0DA8-B72E-4CD3-8711-E498E376882E}" type="pres">
      <dgm:prSet presAssocID="{72A7614C-0464-4524-983B-F2EC192677BA}" presName="parentLin" presStyleCnt="0"/>
      <dgm:spPr/>
    </dgm:pt>
    <dgm:pt modelId="{B2B466E8-5313-4274-A7AB-6B27B7DC0377}" type="pres">
      <dgm:prSet presAssocID="{72A7614C-0464-4524-983B-F2EC192677BA}" presName="parentLeftMargin" presStyleLbl="node1" presStyleIdx="0" presStyleCnt="2"/>
      <dgm:spPr/>
    </dgm:pt>
    <dgm:pt modelId="{8129C115-CF13-47B6-B212-279F825558DC}" type="pres">
      <dgm:prSet presAssocID="{72A7614C-0464-4524-983B-F2EC192677BA}" presName="parentText" presStyleLbl="node1" presStyleIdx="1" presStyleCnt="2">
        <dgm:presLayoutVars>
          <dgm:chMax val="0"/>
          <dgm:bulletEnabled val="1"/>
        </dgm:presLayoutVars>
      </dgm:prSet>
      <dgm:spPr/>
    </dgm:pt>
    <dgm:pt modelId="{AB0F9251-EBEB-4185-AD2D-4D874C35CF8B}" type="pres">
      <dgm:prSet presAssocID="{72A7614C-0464-4524-983B-F2EC192677BA}" presName="negativeSpace" presStyleCnt="0"/>
      <dgm:spPr/>
    </dgm:pt>
    <dgm:pt modelId="{74F92588-28EE-4FBE-ABB0-9C5C9E50E7CA}" type="pres">
      <dgm:prSet presAssocID="{72A7614C-0464-4524-983B-F2EC192677BA}" presName="childText" presStyleLbl="conFgAcc1" presStyleIdx="1" presStyleCnt="2" custScaleY="102299">
        <dgm:presLayoutVars>
          <dgm:bulletEnabled val="1"/>
        </dgm:presLayoutVars>
      </dgm:prSet>
      <dgm:spPr/>
    </dgm:pt>
  </dgm:ptLst>
  <dgm:cxnLst>
    <dgm:cxn modelId="{2016071B-C8DC-47EA-8294-630E755DC189}" type="presOf" srcId="{7DC3BB30-E774-40A3-BF61-9FD0CDE6F4F0}" destId="{74F92588-28EE-4FBE-ABB0-9C5C9E50E7CA}" srcOrd="0" destOrd="1" presId="urn:microsoft.com/office/officeart/2005/8/layout/list1"/>
    <dgm:cxn modelId="{3A67B21D-6D2A-47D5-A3D7-2372CB1C5272}" type="presOf" srcId="{72A7614C-0464-4524-983B-F2EC192677BA}" destId="{8129C115-CF13-47B6-B212-279F825558DC}" srcOrd="1" destOrd="0" presId="urn:microsoft.com/office/officeart/2005/8/layout/list1"/>
    <dgm:cxn modelId="{AE527B39-819E-4CAC-9270-4A56BB6ADDB1}" srcId="{08E01F1A-69B1-46C4-ACB6-C80606B31825}" destId="{72A7614C-0464-4524-983B-F2EC192677BA}" srcOrd="1" destOrd="0" parTransId="{ACD58CC5-D4BD-4C1A-AA81-D2C6047CC335}" sibTransId="{A3BEB4A7-C44A-4947-9FEA-90A8C4F2C059}"/>
    <dgm:cxn modelId="{927BB43E-4EB5-4C9F-BDF3-AFC329CD7AAB}" srcId="{F725BB86-99D0-4B0D-810B-15D9BF747800}" destId="{3F5A7502-0EE3-4E98-8702-D3262EDD7D87}" srcOrd="1" destOrd="0" parTransId="{88524A33-99A3-4C93-B4AF-2BD50D3D225D}" sibTransId="{A703E2EB-3D27-4D3A-99F0-A0632F5C66A4}"/>
    <dgm:cxn modelId="{639BED61-DEA1-48DA-BE32-29260A1DFB7C}" srcId="{08E01F1A-69B1-46C4-ACB6-C80606B31825}" destId="{F725BB86-99D0-4B0D-810B-15D9BF747800}" srcOrd="0" destOrd="0" parTransId="{373D1B98-8EF7-4FCC-A1C8-3F9DCC699691}" sibTransId="{38B750E8-7C44-42CE-B1AA-41EE6269D5B0}"/>
    <dgm:cxn modelId="{15604142-3A23-4140-B2CC-590D6CC0919A}" type="presOf" srcId="{08E01F1A-69B1-46C4-ACB6-C80606B31825}" destId="{3548B8FE-A0EE-453E-ADF9-4FF7E4B9FC23}" srcOrd="0" destOrd="0" presId="urn:microsoft.com/office/officeart/2005/8/layout/list1"/>
    <dgm:cxn modelId="{4D2A6242-AF5F-45F7-8016-86CB5FBAD38D}" srcId="{72A7614C-0464-4524-983B-F2EC192677BA}" destId="{7DC3BB30-E774-40A3-BF61-9FD0CDE6F4F0}" srcOrd="1" destOrd="0" parTransId="{94626AFF-D3D6-4811-8B35-936B5E826E07}" sibTransId="{D08C39A0-5DB1-4B8E-B128-5939387099BB}"/>
    <dgm:cxn modelId="{C5C6146C-FC66-45EF-8426-7C0A51B3B82C}" type="presOf" srcId="{72A7614C-0464-4524-983B-F2EC192677BA}" destId="{B2B466E8-5313-4274-A7AB-6B27B7DC0377}" srcOrd="0" destOrd="0" presId="urn:microsoft.com/office/officeart/2005/8/layout/list1"/>
    <dgm:cxn modelId="{AFAE3E70-A62A-4972-85AF-CC6AA5A57DC6}" type="presOf" srcId="{AB3BC3E6-1BFB-4A50-BE68-68401C20D1E8}" destId="{74F92588-28EE-4FBE-ABB0-9C5C9E50E7CA}" srcOrd="0" destOrd="0" presId="urn:microsoft.com/office/officeart/2005/8/layout/list1"/>
    <dgm:cxn modelId="{7185E059-DF84-41AC-8951-0961B4ADAE8E}" type="presOf" srcId="{F12F478D-8470-4B8B-9693-D63ADD2165FD}" destId="{74F92588-28EE-4FBE-ABB0-9C5C9E50E7CA}" srcOrd="0" destOrd="3" presId="urn:microsoft.com/office/officeart/2005/8/layout/list1"/>
    <dgm:cxn modelId="{68811382-8B67-4C0F-96D1-44DC2F7118CD}" srcId="{72A7614C-0464-4524-983B-F2EC192677BA}" destId="{AB3BC3E6-1BFB-4A50-BE68-68401C20D1E8}" srcOrd="0" destOrd="0" parTransId="{8F27179B-8DD4-43FB-9310-70B9E29BFF1D}" sibTransId="{EDD4A940-0E4F-437A-A9AA-B27E5C419D6D}"/>
    <dgm:cxn modelId="{F17D11A2-1071-48A7-9F89-D37DF220917B}" srcId="{F725BB86-99D0-4B0D-810B-15D9BF747800}" destId="{84847A26-A938-4E82-B1CE-2B3C778E9633}" srcOrd="0" destOrd="0" parTransId="{0A37FE1A-E98C-4815-90BF-598998401DB4}" sibTransId="{C0A1CC3A-16E8-4D1A-A8C5-657C9665BE32}"/>
    <dgm:cxn modelId="{A8EF3CBC-DEB3-4DB0-A025-18123CDADF71}" type="presOf" srcId="{F725BB86-99D0-4B0D-810B-15D9BF747800}" destId="{217BF941-F6E4-4F9A-B3CE-1E78E2384969}" srcOrd="0" destOrd="0" presId="urn:microsoft.com/office/officeart/2005/8/layout/list1"/>
    <dgm:cxn modelId="{D8FE26D1-F0D4-4BEE-8E6D-08FA1F559CCB}" type="presOf" srcId="{84847A26-A938-4E82-B1CE-2B3C778E9633}" destId="{1CA33950-739F-4965-8793-EBA1AC8FC0FB}" srcOrd="0" destOrd="0" presId="urn:microsoft.com/office/officeart/2005/8/layout/list1"/>
    <dgm:cxn modelId="{DEC867D5-F0E9-495E-A36B-5A71D48A41C1}" srcId="{72A7614C-0464-4524-983B-F2EC192677BA}" destId="{F12F478D-8470-4B8B-9693-D63ADD2165FD}" srcOrd="3" destOrd="0" parTransId="{48530384-990F-45E1-8162-B737BD516222}" sibTransId="{692746F5-34B0-4A69-8D7A-E53A60726657}"/>
    <dgm:cxn modelId="{7ADBFAE4-9BFD-4A9A-84EA-A1D8517D3D86}" type="presOf" srcId="{5BB3B2E1-30E8-40A7-91EF-3500DE97C0D5}" destId="{74F92588-28EE-4FBE-ABB0-9C5C9E50E7CA}" srcOrd="0" destOrd="2" presId="urn:microsoft.com/office/officeart/2005/8/layout/list1"/>
    <dgm:cxn modelId="{4B80B5E7-B1EA-4E0E-8E0E-21E416077B05}" type="presOf" srcId="{3F5A7502-0EE3-4E98-8702-D3262EDD7D87}" destId="{1CA33950-739F-4965-8793-EBA1AC8FC0FB}" srcOrd="0" destOrd="1" presId="urn:microsoft.com/office/officeart/2005/8/layout/list1"/>
    <dgm:cxn modelId="{2544FEF1-C4C6-438F-BCDF-8EB896D9B92B}" srcId="{72A7614C-0464-4524-983B-F2EC192677BA}" destId="{5BB3B2E1-30E8-40A7-91EF-3500DE97C0D5}" srcOrd="2" destOrd="0" parTransId="{E8F05DF5-AEDF-4D40-BDC0-B663D7065213}" sibTransId="{6D90C264-CCC1-48FB-BA2A-F163D77623D3}"/>
    <dgm:cxn modelId="{57D6B5F5-CE63-44CF-9364-24D83151705C}" type="presOf" srcId="{F725BB86-99D0-4B0D-810B-15D9BF747800}" destId="{BA1DF8F0-4B63-4651-BF06-4B7E26308213}" srcOrd="1" destOrd="0" presId="urn:microsoft.com/office/officeart/2005/8/layout/list1"/>
    <dgm:cxn modelId="{9DEB62D5-219A-4696-8D70-983FCA7CD884}" type="presParOf" srcId="{3548B8FE-A0EE-453E-ADF9-4FF7E4B9FC23}" destId="{CCC0C333-74A1-4885-938D-262A21011BFF}" srcOrd="0" destOrd="0" presId="urn:microsoft.com/office/officeart/2005/8/layout/list1"/>
    <dgm:cxn modelId="{A60CD21F-66CB-4A22-AAFB-1AA6D103F0C6}" type="presParOf" srcId="{CCC0C333-74A1-4885-938D-262A21011BFF}" destId="{217BF941-F6E4-4F9A-B3CE-1E78E2384969}" srcOrd="0" destOrd="0" presId="urn:microsoft.com/office/officeart/2005/8/layout/list1"/>
    <dgm:cxn modelId="{C4D0B851-E148-4CF9-B27B-B42A51E5EF84}" type="presParOf" srcId="{CCC0C333-74A1-4885-938D-262A21011BFF}" destId="{BA1DF8F0-4B63-4651-BF06-4B7E26308213}" srcOrd="1" destOrd="0" presId="urn:microsoft.com/office/officeart/2005/8/layout/list1"/>
    <dgm:cxn modelId="{AACD210E-7818-45F3-B408-39C0D9D78D5B}" type="presParOf" srcId="{3548B8FE-A0EE-453E-ADF9-4FF7E4B9FC23}" destId="{65F266CA-6C02-487E-AECA-478BBB92A4A2}" srcOrd="1" destOrd="0" presId="urn:microsoft.com/office/officeart/2005/8/layout/list1"/>
    <dgm:cxn modelId="{616FC40F-9E1F-49CD-8296-0E62FBB90E77}" type="presParOf" srcId="{3548B8FE-A0EE-453E-ADF9-4FF7E4B9FC23}" destId="{1CA33950-739F-4965-8793-EBA1AC8FC0FB}" srcOrd="2" destOrd="0" presId="urn:microsoft.com/office/officeart/2005/8/layout/list1"/>
    <dgm:cxn modelId="{CC5DAA1D-EC7F-4952-8C87-3F786C0BFCCB}" type="presParOf" srcId="{3548B8FE-A0EE-453E-ADF9-4FF7E4B9FC23}" destId="{9E15C0F2-E82F-4B02-956A-C0BF8C41192C}" srcOrd="3" destOrd="0" presId="urn:microsoft.com/office/officeart/2005/8/layout/list1"/>
    <dgm:cxn modelId="{3DB03441-D4EA-46B4-8124-6D9EF4AC44A5}" type="presParOf" srcId="{3548B8FE-A0EE-453E-ADF9-4FF7E4B9FC23}" destId="{506B0DA8-B72E-4CD3-8711-E498E376882E}" srcOrd="4" destOrd="0" presId="urn:microsoft.com/office/officeart/2005/8/layout/list1"/>
    <dgm:cxn modelId="{99844AFF-48C0-472F-BB9F-C89D8E0EB6BA}" type="presParOf" srcId="{506B0DA8-B72E-4CD3-8711-E498E376882E}" destId="{B2B466E8-5313-4274-A7AB-6B27B7DC0377}" srcOrd="0" destOrd="0" presId="urn:microsoft.com/office/officeart/2005/8/layout/list1"/>
    <dgm:cxn modelId="{599ADD73-CF96-4D47-9B62-E81FD9AEC107}" type="presParOf" srcId="{506B0DA8-B72E-4CD3-8711-E498E376882E}" destId="{8129C115-CF13-47B6-B212-279F825558DC}" srcOrd="1" destOrd="0" presId="urn:microsoft.com/office/officeart/2005/8/layout/list1"/>
    <dgm:cxn modelId="{E6328F6B-E83D-445A-B91E-B1628D845B3B}" type="presParOf" srcId="{3548B8FE-A0EE-453E-ADF9-4FF7E4B9FC23}" destId="{AB0F9251-EBEB-4185-AD2D-4D874C35CF8B}" srcOrd="5" destOrd="0" presId="urn:microsoft.com/office/officeart/2005/8/layout/list1"/>
    <dgm:cxn modelId="{D768C31B-7B62-4FDF-9646-D359EEFE6CF4}" type="presParOf" srcId="{3548B8FE-A0EE-453E-ADF9-4FF7E4B9FC23}" destId="{74F92588-28EE-4FBE-ABB0-9C5C9E50E7CA}" srcOrd="6"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E94A338-68DE-4B0C-971A-A8D49D3E51E6}"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BBF04210-6213-48BF-AAD1-8808EC9626CE}">
      <dgm:prSet/>
      <dgm:spPr/>
      <dgm:t>
        <a:bodyPr/>
        <a:lstStyle/>
        <a:p>
          <a:r>
            <a:rPr lang="en-US" b="1"/>
            <a:t>Step</a:t>
          </a:r>
          <a:r>
            <a:rPr lang="en-US"/>
            <a:t> </a:t>
          </a:r>
          <a:r>
            <a:rPr lang="en-US" b="1"/>
            <a:t>Over</a:t>
          </a:r>
          <a:r>
            <a:rPr lang="en-US"/>
            <a:t> – F10</a:t>
          </a:r>
        </a:p>
      </dgm:t>
    </dgm:pt>
    <dgm:pt modelId="{DFE90546-8957-4D18-8D34-6BE8E91524BE}" type="parTrans" cxnId="{F7BC3EF9-8C69-45D2-B1CA-CB351FFE2AFC}">
      <dgm:prSet/>
      <dgm:spPr/>
      <dgm:t>
        <a:bodyPr/>
        <a:lstStyle/>
        <a:p>
          <a:endParaRPr lang="en-US"/>
        </a:p>
      </dgm:t>
    </dgm:pt>
    <dgm:pt modelId="{0E07D457-49EF-4DF2-80F6-2C114AEB1527}" type="sibTrans" cxnId="{F7BC3EF9-8C69-45D2-B1CA-CB351FFE2AFC}">
      <dgm:prSet/>
      <dgm:spPr/>
      <dgm:t>
        <a:bodyPr/>
        <a:lstStyle/>
        <a:p>
          <a:endParaRPr lang="en-US"/>
        </a:p>
      </dgm:t>
    </dgm:pt>
    <dgm:pt modelId="{3A5F95D3-D7DE-4DFF-8885-79E5F2438345}">
      <dgm:prSet/>
      <dgm:spPr/>
      <dgm:t>
        <a:bodyPr/>
        <a:lstStyle/>
        <a:p>
          <a:r>
            <a:rPr lang="en-US" b="1"/>
            <a:t>Step</a:t>
          </a:r>
          <a:r>
            <a:rPr lang="en-US"/>
            <a:t> </a:t>
          </a:r>
          <a:r>
            <a:rPr lang="en-US" b="1"/>
            <a:t>Into</a:t>
          </a:r>
          <a:r>
            <a:rPr lang="en-US"/>
            <a:t> – F11</a:t>
          </a:r>
        </a:p>
      </dgm:t>
    </dgm:pt>
    <dgm:pt modelId="{320C5CBE-8DD9-4FEB-AC9E-F2274B69B2E9}" type="parTrans" cxnId="{5F08C73A-E138-4E10-A50D-D30CEEBA9C93}">
      <dgm:prSet/>
      <dgm:spPr/>
      <dgm:t>
        <a:bodyPr/>
        <a:lstStyle/>
        <a:p>
          <a:endParaRPr lang="en-US"/>
        </a:p>
      </dgm:t>
    </dgm:pt>
    <dgm:pt modelId="{AF404435-A916-4922-A9E6-9E6B8E4E3274}" type="sibTrans" cxnId="{5F08C73A-E138-4E10-A50D-D30CEEBA9C93}">
      <dgm:prSet/>
      <dgm:spPr/>
      <dgm:t>
        <a:bodyPr/>
        <a:lstStyle/>
        <a:p>
          <a:endParaRPr lang="en-US"/>
        </a:p>
      </dgm:t>
    </dgm:pt>
    <dgm:pt modelId="{C9DFC0E1-E6F4-4E83-9B17-C09D7F6937B7}">
      <dgm:prSet/>
      <dgm:spPr/>
      <dgm:t>
        <a:bodyPr/>
        <a:lstStyle/>
        <a:p>
          <a:r>
            <a:rPr lang="en-US" b="1"/>
            <a:t>Step</a:t>
          </a:r>
          <a:r>
            <a:rPr lang="en-US"/>
            <a:t> </a:t>
          </a:r>
          <a:r>
            <a:rPr lang="en-US" b="1"/>
            <a:t>Out</a:t>
          </a:r>
          <a:r>
            <a:rPr lang="en-US"/>
            <a:t> – Shift+F11</a:t>
          </a:r>
        </a:p>
      </dgm:t>
    </dgm:pt>
    <dgm:pt modelId="{F19F29DB-3975-4904-BBF7-5B19C98A3DF9}" type="parTrans" cxnId="{A2729C37-8B8F-4C6C-8D6E-69C37FC181B6}">
      <dgm:prSet/>
      <dgm:spPr/>
      <dgm:t>
        <a:bodyPr/>
        <a:lstStyle/>
        <a:p>
          <a:endParaRPr lang="en-US"/>
        </a:p>
      </dgm:t>
    </dgm:pt>
    <dgm:pt modelId="{3EC47B67-8D67-43D9-8FB8-6692C5718900}" type="sibTrans" cxnId="{A2729C37-8B8F-4C6C-8D6E-69C37FC181B6}">
      <dgm:prSet/>
      <dgm:spPr/>
      <dgm:t>
        <a:bodyPr/>
        <a:lstStyle/>
        <a:p>
          <a:endParaRPr lang="en-US"/>
        </a:p>
      </dgm:t>
    </dgm:pt>
    <dgm:pt modelId="{EC6F2B2C-14F8-414A-8B3F-24AAEB41EEE9}">
      <dgm:prSet/>
      <dgm:spPr/>
      <dgm:t>
        <a:bodyPr/>
        <a:lstStyle/>
        <a:p>
          <a:r>
            <a:rPr lang="en-US" b="1"/>
            <a:t>Continue</a:t>
          </a:r>
          <a:r>
            <a:rPr lang="en-US"/>
            <a:t> – F5</a:t>
          </a:r>
        </a:p>
      </dgm:t>
    </dgm:pt>
    <dgm:pt modelId="{24BAB545-A1F0-42D4-95D3-A606B3ADDA55}" type="parTrans" cxnId="{01B4FA54-B0C1-487E-A1DC-1C7265E0D907}">
      <dgm:prSet/>
      <dgm:spPr/>
      <dgm:t>
        <a:bodyPr/>
        <a:lstStyle/>
        <a:p>
          <a:endParaRPr lang="en-US"/>
        </a:p>
      </dgm:t>
    </dgm:pt>
    <dgm:pt modelId="{5F86C6E0-9337-49F9-B137-8B56A4F47F74}" type="sibTrans" cxnId="{01B4FA54-B0C1-487E-A1DC-1C7265E0D907}">
      <dgm:prSet/>
      <dgm:spPr/>
      <dgm:t>
        <a:bodyPr/>
        <a:lstStyle/>
        <a:p>
          <a:endParaRPr lang="en-US"/>
        </a:p>
      </dgm:t>
    </dgm:pt>
    <dgm:pt modelId="{DE08A09E-44E7-404C-B57F-849CD7383FF5}">
      <dgm:prSet/>
      <dgm:spPr/>
      <dgm:t>
        <a:bodyPr/>
        <a:lstStyle/>
        <a:p>
          <a:pPr>
            <a:buNone/>
          </a:pPr>
          <a:r>
            <a:rPr lang="en-US"/>
            <a:t>Run code until next breakpoint</a:t>
          </a:r>
        </a:p>
      </dgm:t>
    </dgm:pt>
    <dgm:pt modelId="{70A6A002-327A-4A65-B96F-C7C29F7FEA02}" type="parTrans" cxnId="{AD7C595D-13A5-4CCD-A4D0-A4440807562B}">
      <dgm:prSet/>
      <dgm:spPr/>
      <dgm:t>
        <a:bodyPr/>
        <a:lstStyle/>
        <a:p>
          <a:endParaRPr lang="en-US"/>
        </a:p>
      </dgm:t>
    </dgm:pt>
    <dgm:pt modelId="{0F7525E4-1B7A-4C15-B1AE-A5B7B7071B51}" type="sibTrans" cxnId="{AD7C595D-13A5-4CCD-A4D0-A4440807562B}">
      <dgm:prSet/>
      <dgm:spPr/>
      <dgm:t>
        <a:bodyPr/>
        <a:lstStyle/>
        <a:p>
          <a:endParaRPr lang="en-US"/>
        </a:p>
      </dgm:t>
    </dgm:pt>
    <dgm:pt modelId="{F23A8035-3E3A-424D-B318-B7584347F732}">
      <dgm:prSet/>
      <dgm:spPr/>
      <dgm:t>
        <a:bodyPr/>
        <a:lstStyle/>
        <a:p>
          <a:pPr>
            <a:buNone/>
          </a:pPr>
          <a:r>
            <a:rPr lang="en-US"/>
            <a:t>Run the current line of code</a:t>
          </a:r>
        </a:p>
      </dgm:t>
    </dgm:pt>
    <dgm:pt modelId="{AA5479C9-2691-4253-8E1C-8D048CDCB584}" type="parTrans" cxnId="{9CF17BE3-1C10-47AA-866E-5FFFCB501E3E}">
      <dgm:prSet/>
      <dgm:spPr/>
      <dgm:t>
        <a:bodyPr/>
        <a:lstStyle/>
        <a:p>
          <a:endParaRPr lang="en-US"/>
        </a:p>
      </dgm:t>
    </dgm:pt>
    <dgm:pt modelId="{2EA7AC84-CD12-4EB4-9F0D-1E54E7D61FCD}" type="sibTrans" cxnId="{9CF17BE3-1C10-47AA-866E-5FFFCB501E3E}">
      <dgm:prSet/>
      <dgm:spPr/>
      <dgm:t>
        <a:bodyPr/>
        <a:lstStyle/>
        <a:p>
          <a:endParaRPr lang="en-US"/>
        </a:p>
      </dgm:t>
    </dgm:pt>
    <dgm:pt modelId="{69EC6CD9-A551-4FD1-9A88-3E95233F2D09}">
      <dgm:prSet/>
      <dgm:spPr/>
      <dgm:t>
        <a:bodyPr/>
        <a:lstStyle/>
        <a:p>
          <a:pPr>
            <a:buNone/>
          </a:pPr>
          <a:r>
            <a:rPr lang="en-US"/>
            <a:t>Enters the function or script called from the current line </a:t>
          </a:r>
        </a:p>
      </dgm:t>
    </dgm:pt>
    <dgm:pt modelId="{BC0F1A67-0664-47B7-ABC3-477C29370E38}" type="parTrans" cxnId="{46892233-AE64-46A3-BC23-7DCDFD50D74B}">
      <dgm:prSet/>
      <dgm:spPr/>
      <dgm:t>
        <a:bodyPr/>
        <a:lstStyle/>
        <a:p>
          <a:endParaRPr lang="en-US"/>
        </a:p>
      </dgm:t>
    </dgm:pt>
    <dgm:pt modelId="{1B5E29EC-F411-4C94-BB94-C079557CEF60}" type="sibTrans" cxnId="{46892233-AE64-46A3-BC23-7DCDFD50D74B}">
      <dgm:prSet/>
      <dgm:spPr/>
      <dgm:t>
        <a:bodyPr/>
        <a:lstStyle/>
        <a:p>
          <a:endParaRPr lang="en-US"/>
        </a:p>
      </dgm:t>
    </dgm:pt>
    <dgm:pt modelId="{12309926-BC3B-4487-AD3C-587D5C73D06F}">
      <dgm:prSet/>
      <dgm:spPr/>
      <dgm:t>
        <a:bodyPr/>
        <a:lstStyle/>
        <a:p>
          <a:pPr>
            <a:buNone/>
          </a:pPr>
          <a:r>
            <a:rPr lang="en-US"/>
            <a:t>Finishes the current function and exits to the parent scope</a:t>
          </a:r>
        </a:p>
      </dgm:t>
    </dgm:pt>
    <dgm:pt modelId="{0000011C-A948-43A0-8FFC-2ACD7ACBBE58}" type="parTrans" cxnId="{A6C4AEEA-6EF2-4F8C-B484-D7991C705473}">
      <dgm:prSet/>
      <dgm:spPr/>
      <dgm:t>
        <a:bodyPr/>
        <a:lstStyle/>
        <a:p>
          <a:endParaRPr lang="en-US"/>
        </a:p>
      </dgm:t>
    </dgm:pt>
    <dgm:pt modelId="{65B6BFAE-6BF4-44B4-A64F-393088B22B58}" type="sibTrans" cxnId="{A6C4AEEA-6EF2-4F8C-B484-D7991C705473}">
      <dgm:prSet/>
      <dgm:spPr/>
      <dgm:t>
        <a:bodyPr/>
        <a:lstStyle/>
        <a:p>
          <a:endParaRPr lang="en-US"/>
        </a:p>
      </dgm:t>
    </dgm:pt>
    <dgm:pt modelId="{681BE1AD-CD47-468E-B84C-7A6E7382ED04}" type="pres">
      <dgm:prSet presAssocID="{7E94A338-68DE-4B0C-971A-A8D49D3E51E6}" presName="linear" presStyleCnt="0">
        <dgm:presLayoutVars>
          <dgm:dir/>
          <dgm:animLvl val="lvl"/>
          <dgm:resizeHandles val="exact"/>
        </dgm:presLayoutVars>
      </dgm:prSet>
      <dgm:spPr/>
    </dgm:pt>
    <dgm:pt modelId="{3160DF74-AC4F-4FDB-AB68-3E4319C973AC}" type="pres">
      <dgm:prSet presAssocID="{EC6F2B2C-14F8-414A-8B3F-24AAEB41EEE9}" presName="parentLin" presStyleCnt="0"/>
      <dgm:spPr/>
    </dgm:pt>
    <dgm:pt modelId="{8292A2D1-A83B-4B2F-B0FF-C934A55D75D9}" type="pres">
      <dgm:prSet presAssocID="{EC6F2B2C-14F8-414A-8B3F-24AAEB41EEE9}" presName="parentLeftMargin" presStyleLbl="node1" presStyleIdx="0" presStyleCnt="4"/>
      <dgm:spPr/>
    </dgm:pt>
    <dgm:pt modelId="{3D3F60A9-283C-4A4B-8EE0-0376D3DCFCA2}" type="pres">
      <dgm:prSet presAssocID="{EC6F2B2C-14F8-414A-8B3F-24AAEB41EEE9}" presName="parentText" presStyleLbl="node1" presStyleIdx="0" presStyleCnt="4">
        <dgm:presLayoutVars>
          <dgm:chMax val="0"/>
          <dgm:bulletEnabled val="1"/>
        </dgm:presLayoutVars>
      </dgm:prSet>
      <dgm:spPr/>
    </dgm:pt>
    <dgm:pt modelId="{C7BC34ED-3603-44E7-8E5D-14D4365C4E4D}" type="pres">
      <dgm:prSet presAssocID="{EC6F2B2C-14F8-414A-8B3F-24AAEB41EEE9}" presName="negativeSpace" presStyleCnt="0"/>
      <dgm:spPr/>
    </dgm:pt>
    <dgm:pt modelId="{912F4635-21CE-4F07-8730-A1D3499273EB}" type="pres">
      <dgm:prSet presAssocID="{EC6F2B2C-14F8-414A-8B3F-24AAEB41EEE9}" presName="childText" presStyleLbl="conFgAcc1" presStyleIdx="0" presStyleCnt="4">
        <dgm:presLayoutVars>
          <dgm:bulletEnabled val="1"/>
        </dgm:presLayoutVars>
      </dgm:prSet>
      <dgm:spPr/>
    </dgm:pt>
    <dgm:pt modelId="{653D1D18-8CE2-4F16-A3E1-6C41DC0A60C5}" type="pres">
      <dgm:prSet presAssocID="{5F86C6E0-9337-49F9-B137-8B56A4F47F74}" presName="spaceBetweenRectangles" presStyleCnt="0"/>
      <dgm:spPr/>
    </dgm:pt>
    <dgm:pt modelId="{53AB6ACA-BFA0-415A-B9A8-4CAB6925CD28}" type="pres">
      <dgm:prSet presAssocID="{BBF04210-6213-48BF-AAD1-8808EC9626CE}" presName="parentLin" presStyleCnt="0"/>
      <dgm:spPr/>
    </dgm:pt>
    <dgm:pt modelId="{9EA5215C-9065-496D-A0EC-E0713FCE84A1}" type="pres">
      <dgm:prSet presAssocID="{BBF04210-6213-48BF-AAD1-8808EC9626CE}" presName="parentLeftMargin" presStyleLbl="node1" presStyleIdx="0" presStyleCnt="4"/>
      <dgm:spPr/>
    </dgm:pt>
    <dgm:pt modelId="{0FE5BE88-CBDD-4548-AC9F-A256B09EABDB}" type="pres">
      <dgm:prSet presAssocID="{BBF04210-6213-48BF-AAD1-8808EC9626CE}" presName="parentText" presStyleLbl="node1" presStyleIdx="1" presStyleCnt="4">
        <dgm:presLayoutVars>
          <dgm:chMax val="0"/>
          <dgm:bulletEnabled val="1"/>
        </dgm:presLayoutVars>
      </dgm:prSet>
      <dgm:spPr/>
    </dgm:pt>
    <dgm:pt modelId="{0026EF63-3079-4C14-A147-56A2B9C08DCE}" type="pres">
      <dgm:prSet presAssocID="{BBF04210-6213-48BF-AAD1-8808EC9626CE}" presName="negativeSpace" presStyleCnt="0"/>
      <dgm:spPr/>
    </dgm:pt>
    <dgm:pt modelId="{A1E8898D-C053-4A4B-9961-6CDACB497162}" type="pres">
      <dgm:prSet presAssocID="{BBF04210-6213-48BF-AAD1-8808EC9626CE}" presName="childText" presStyleLbl="conFgAcc1" presStyleIdx="1" presStyleCnt="4">
        <dgm:presLayoutVars>
          <dgm:bulletEnabled val="1"/>
        </dgm:presLayoutVars>
      </dgm:prSet>
      <dgm:spPr/>
    </dgm:pt>
    <dgm:pt modelId="{1C189B76-1589-4C1D-A400-3CAFDEF7894F}" type="pres">
      <dgm:prSet presAssocID="{0E07D457-49EF-4DF2-80F6-2C114AEB1527}" presName="spaceBetweenRectangles" presStyleCnt="0"/>
      <dgm:spPr/>
    </dgm:pt>
    <dgm:pt modelId="{527369E0-0E60-4342-9898-57CDC18122A2}" type="pres">
      <dgm:prSet presAssocID="{3A5F95D3-D7DE-4DFF-8885-79E5F2438345}" presName="parentLin" presStyleCnt="0"/>
      <dgm:spPr/>
    </dgm:pt>
    <dgm:pt modelId="{CAE6FA5B-3685-4F11-B2C7-39BA6E8E41F0}" type="pres">
      <dgm:prSet presAssocID="{3A5F95D3-D7DE-4DFF-8885-79E5F2438345}" presName="parentLeftMargin" presStyleLbl="node1" presStyleIdx="1" presStyleCnt="4"/>
      <dgm:spPr/>
    </dgm:pt>
    <dgm:pt modelId="{4C2E1E2B-F285-4E3F-AD53-3BE27464461E}" type="pres">
      <dgm:prSet presAssocID="{3A5F95D3-D7DE-4DFF-8885-79E5F2438345}" presName="parentText" presStyleLbl="node1" presStyleIdx="2" presStyleCnt="4">
        <dgm:presLayoutVars>
          <dgm:chMax val="0"/>
          <dgm:bulletEnabled val="1"/>
        </dgm:presLayoutVars>
      </dgm:prSet>
      <dgm:spPr/>
    </dgm:pt>
    <dgm:pt modelId="{EF16D300-F210-4E05-AC2E-49BEBB1B0FD7}" type="pres">
      <dgm:prSet presAssocID="{3A5F95D3-D7DE-4DFF-8885-79E5F2438345}" presName="negativeSpace" presStyleCnt="0"/>
      <dgm:spPr/>
    </dgm:pt>
    <dgm:pt modelId="{44A46D18-D3E9-49DB-9D4E-2978F20E9520}" type="pres">
      <dgm:prSet presAssocID="{3A5F95D3-D7DE-4DFF-8885-79E5F2438345}" presName="childText" presStyleLbl="conFgAcc1" presStyleIdx="2" presStyleCnt="4">
        <dgm:presLayoutVars>
          <dgm:bulletEnabled val="1"/>
        </dgm:presLayoutVars>
      </dgm:prSet>
      <dgm:spPr/>
    </dgm:pt>
    <dgm:pt modelId="{7397E80D-F78E-4237-96CA-A0B68E6EF8CB}" type="pres">
      <dgm:prSet presAssocID="{AF404435-A916-4922-A9E6-9E6B8E4E3274}" presName="spaceBetweenRectangles" presStyleCnt="0"/>
      <dgm:spPr/>
    </dgm:pt>
    <dgm:pt modelId="{6BCB4FE3-9D1D-42DF-B7D3-12A4ED5CBBDE}" type="pres">
      <dgm:prSet presAssocID="{C9DFC0E1-E6F4-4E83-9B17-C09D7F6937B7}" presName="parentLin" presStyleCnt="0"/>
      <dgm:spPr/>
    </dgm:pt>
    <dgm:pt modelId="{629CDFA6-A004-4945-AE1F-27EAAF55439C}" type="pres">
      <dgm:prSet presAssocID="{C9DFC0E1-E6F4-4E83-9B17-C09D7F6937B7}" presName="parentLeftMargin" presStyleLbl="node1" presStyleIdx="2" presStyleCnt="4"/>
      <dgm:spPr/>
    </dgm:pt>
    <dgm:pt modelId="{CE49B867-A00E-4861-B236-AE331812F218}" type="pres">
      <dgm:prSet presAssocID="{C9DFC0E1-E6F4-4E83-9B17-C09D7F6937B7}" presName="parentText" presStyleLbl="node1" presStyleIdx="3" presStyleCnt="4">
        <dgm:presLayoutVars>
          <dgm:chMax val="0"/>
          <dgm:bulletEnabled val="1"/>
        </dgm:presLayoutVars>
      </dgm:prSet>
      <dgm:spPr/>
    </dgm:pt>
    <dgm:pt modelId="{A41E70AE-A694-445D-B8CD-252DDD4DEDB0}" type="pres">
      <dgm:prSet presAssocID="{C9DFC0E1-E6F4-4E83-9B17-C09D7F6937B7}" presName="negativeSpace" presStyleCnt="0"/>
      <dgm:spPr/>
    </dgm:pt>
    <dgm:pt modelId="{AE5C2A29-F76A-43F2-BDB4-CA8AFBE2C995}" type="pres">
      <dgm:prSet presAssocID="{C9DFC0E1-E6F4-4E83-9B17-C09D7F6937B7}" presName="childText" presStyleLbl="conFgAcc1" presStyleIdx="3" presStyleCnt="4">
        <dgm:presLayoutVars>
          <dgm:bulletEnabled val="1"/>
        </dgm:presLayoutVars>
      </dgm:prSet>
      <dgm:spPr/>
    </dgm:pt>
  </dgm:ptLst>
  <dgm:cxnLst>
    <dgm:cxn modelId="{B839961A-6DF8-465D-BF96-D81C21EB7CCD}" type="presOf" srcId="{3A5F95D3-D7DE-4DFF-8885-79E5F2438345}" destId="{4C2E1E2B-F285-4E3F-AD53-3BE27464461E}" srcOrd="1" destOrd="0" presId="urn:microsoft.com/office/officeart/2005/8/layout/list1"/>
    <dgm:cxn modelId="{46892233-AE64-46A3-BC23-7DCDFD50D74B}" srcId="{3A5F95D3-D7DE-4DFF-8885-79E5F2438345}" destId="{69EC6CD9-A551-4FD1-9A88-3E95233F2D09}" srcOrd="0" destOrd="0" parTransId="{BC0F1A67-0664-47B7-ABC3-477C29370E38}" sibTransId="{1B5E29EC-F411-4C94-BB94-C079557CEF60}"/>
    <dgm:cxn modelId="{A2729C37-8B8F-4C6C-8D6E-69C37FC181B6}" srcId="{7E94A338-68DE-4B0C-971A-A8D49D3E51E6}" destId="{C9DFC0E1-E6F4-4E83-9B17-C09D7F6937B7}" srcOrd="3" destOrd="0" parTransId="{F19F29DB-3975-4904-BBF7-5B19C98A3DF9}" sibTransId="{3EC47B67-8D67-43D9-8FB8-6692C5718900}"/>
    <dgm:cxn modelId="{5F08C73A-E138-4E10-A50D-D30CEEBA9C93}" srcId="{7E94A338-68DE-4B0C-971A-A8D49D3E51E6}" destId="{3A5F95D3-D7DE-4DFF-8885-79E5F2438345}" srcOrd="2" destOrd="0" parTransId="{320C5CBE-8DD9-4FEB-AC9E-F2274B69B2E9}" sibTransId="{AF404435-A916-4922-A9E6-9E6B8E4E3274}"/>
    <dgm:cxn modelId="{AD7C595D-13A5-4CCD-A4D0-A4440807562B}" srcId="{EC6F2B2C-14F8-414A-8B3F-24AAEB41EEE9}" destId="{DE08A09E-44E7-404C-B57F-849CD7383FF5}" srcOrd="0" destOrd="0" parTransId="{70A6A002-327A-4A65-B96F-C7C29F7FEA02}" sibTransId="{0F7525E4-1B7A-4C15-B1AE-A5B7B7071B51}"/>
    <dgm:cxn modelId="{75FB4762-8CB2-48D1-AEA9-1E0FB8DFFFA7}" type="presOf" srcId="{7E94A338-68DE-4B0C-971A-A8D49D3E51E6}" destId="{681BE1AD-CD47-468E-B84C-7A6E7382ED04}" srcOrd="0" destOrd="0" presId="urn:microsoft.com/office/officeart/2005/8/layout/list1"/>
    <dgm:cxn modelId="{00188B42-4B4F-4436-A8D4-3F1D97FAFF21}" type="presOf" srcId="{C9DFC0E1-E6F4-4E83-9B17-C09D7F6937B7}" destId="{CE49B867-A00E-4861-B236-AE331812F218}" srcOrd="1" destOrd="0" presId="urn:microsoft.com/office/officeart/2005/8/layout/list1"/>
    <dgm:cxn modelId="{862B4F4F-F6B9-43CD-A698-FFB4627FB11E}" type="presOf" srcId="{EC6F2B2C-14F8-414A-8B3F-24AAEB41EEE9}" destId="{3D3F60A9-283C-4A4B-8EE0-0376D3DCFCA2}" srcOrd="1" destOrd="0" presId="urn:microsoft.com/office/officeart/2005/8/layout/list1"/>
    <dgm:cxn modelId="{01B4FA54-B0C1-487E-A1DC-1C7265E0D907}" srcId="{7E94A338-68DE-4B0C-971A-A8D49D3E51E6}" destId="{EC6F2B2C-14F8-414A-8B3F-24AAEB41EEE9}" srcOrd="0" destOrd="0" parTransId="{24BAB545-A1F0-42D4-95D3-A606B3ADDA55}" sibTransId="{5F86C6E0-9337-49F9-B137-8B56A4F47F74}"/>
    <dgm:cxn modelId="{7F38D578-2FD6-4D44-BD0D-1DB021DB970A}" type="presOf" srcId="{F23A8035-3E3A-424D-B318-B7584347F732}" destId="{A1E8898D-C053-4A4B-9961-6CDACB497162}" srcOrd="0" destOrd="0" presId="urn:microsoft.com/office/officeart/2005/8/layout/list1"/>
    <dgm:cxn modelId="{08CBEA7A-2755-487C-884A-9CF0E0B8D11C}" type="presOf" srcId="{69EC6CD9-A551-4FD1-9A88-3E95233F2D09}" destId="{44A46D18-D3E9-49DB-9D4E-2978F20E9520}" srcOrd="0" destOrd="0" presId="urn:microsoft.com/office/officeart/2005/8/layout/list1"/>
    <dgm:cxn modelId="{ED38797E-7CF7-4800-B757-88A219CC5BB7}" type="presOf" srcId="{DE08A09E-44E7-404C-B57F-849CD7383FF5}" destId="{912F4635-21CE-4F07-8730-A1D3499273EB}" srcOrd="0" destOrd="0" presId="urn:microsoft.com/office/officeart/2005/8/layout/list1"/>
    <dgm:cxn modelId="{5CC3857E-6813-4545-9B8B-07E66B4A1129}" type="presOf" srcId="{C9DFC0E1-E6F4-4E83-9B17-C09D7F6937B7}" destId="{629CDFA6-A004-4945-AE1F-27EAAF55439C}" srcOrd="0" destOrd="0" presId="urn:microsoft.com/office/officeart/2005/8/layout/list1"/>
    <dgm:cxn modelId="{B4944AA0-5E5A-4EFC-AAAC-8459DF99BE30}" type="presOf" srcId="{BBF04210-6213-48BF-AAD1-8808EC9626CE}" destId="{0FE5BE88-CBDD-4548-AC9F-A256B09EABDB}" srcOrd="1" destOrd="0" presId="urn:microsoft.com/office/officeart/2005/8/layout/list1"/>
    <dgm:cxn modelId="{6A3B80B5-62BE-4C4E-A7FE-EBD694CFB1DE}" type="presOf" srcId="{3A5F95D3-D7DE-4DFF-8885-79E5F2438345}" destId="{CAE6FA5B-3685-4F11-B2C7-39BA6E8E41F0}" srcOrd="0" destOrd="0" presId="urn:microsoft.com/office/officeart/2005/8/layout/list1"/>
    <dgm:cxn modelId="{F809B0C0-D8F5-4A41-AE25-D1AD7A6842DD}" type="presOf" srcId="{BBF04210-6213-48BF-AAD1-8808EC9626CE}" destId="{9EA5215C-9065-496D-A0EC-E0713FCE84A1}" srcOrd="0" destOrd="0" presId="urn:microsoft.com/office/officeart/2005/8/layout/list1"/>
    <dgm:cxn modelId="{9CF17BE3-1C10-47AA-866E-5FFFCB501E3E}" srcId="{BBF04210-6213-48BF-AAD1-8808EC9626CE}" destId="{F23A8035-3E3A-424D-B318-B7584347F732}" srcOrd="0" destOrd="0" parTransId="{AA5479C9-2691-4253-8E1C-8D048CDCB584}" sibTransId="{2EA7AC84-CD12-4EB4-9F0D-1E54E7D61FCD}"/>
    <dgm:cxn modelId="{A6C4AEEA-6EF2-4F8C-B484-D7991C705473}" srcId="{C9DFC0E1-E6F4-4E83-9B17-C09D7F6937B7}" destId="{12309926-BC3B-4487-AD3C-587D5C73D06F}" srcOrd="0" destOrd="0" parTransId="{0000011C-A948-43A0-8FFC-2ACD7ACBBE58}" sibTransId="{65B6BFAE-6BF4-44B4-A64F-393088B22B58}"/>
    <dgm:cxn modelId="{F7BC3EF9-8C69-45D2-B1CA-CB351FFE2AFC}" srcId="{7E94A338-68DE-4B0C-971A-A8D49D3E51E6}" destId="{BBF04210-6213-48BF-AAD1-8808EC9626CE}" srcOrd="1" destOrd="0" parTransId="{DFE90546-8957-4D18-8D34-6BE8E91524BE}" sibTransId="{0E07D457-49EF-4DF2-80F6-2C114AEB1527}"/>
    <dgm:cxn modelId="{DA4952FB-F9CF-4555-87AA-E6EF50E78DF4}" type="presOf" srcId="{EC6F2B2C-14F8-414A-8B3F-24AAEB41EEE9}" destId="{8292A2D1-A83B-4B2F-B0FF-C934A55D75D9}" srcOrd="0" destOrd="0" presId="urn:microsoft.com/office/officeart/2005/8/layout/list1"/>
    <dgm:cxn modelId="{AFFC87FF-36B5-4BAC-9B16-C384FCCE7319}" type="presOf" srcId="{12309926-BC3B-4487-AD3C-587D5C73D06F}" destId="{AE5C2A29-F76A-43F2-BDB4-CA8AFBE2C995}" srcOrd="0" destOrd="0" presId="urn:microsoft.com/office/officeart/2005/8/layout/list1"/>
    <dgm:cxn modelId="{4D8E1AB4-A2A2-4D4D-BFFF-B5D87EE2C338}" type="presParOf" srcId="{681BE1AD-CD47-468E-B84C-7A6E7382ED04}" destId="{3160DF74-AC4F-4FDB-AB68-3E4319C973AC}" srcOrd="0" destOrd="0" presId="urn:microsoft.com/office/officeart/2005/8/layout/list1"/>
    <dgm:cxn modelId="{D33A90D3-34CF-4791-A932-A53430822421}" type="presParOf" srcId="{3160DF74-AC4F-4FDB-AB68-3E4319C973AC}" destId="{8292A2D1-A83B-4B2F-B0FF-C934A55D75D9}" srcOrd="0" destOrd="0" presId="urn:microsoft.com/office/officeart/2005/8/layout/list1"/>
    <dgm:cxn modelId="{A5DB1B97-D1C6-4B89-95FA-13B8D735408D}" type="presParOf" srcId="{3160DF74-AC4F-4FDB-AB68-3E4319C973AC}" destId="{3D3F60A9-283C-4A4B-8EE0-0376D3DCFCA2}" srcOrd="1" destOrd="0" presId="urn:microsoft.com/office/officeart/2005/8/layout/list1"/>
    <dgm:cxn modelId="{78F4E3A4-D0A0-4B84-B3E7-0DE9FD82DC25}" type="presParOf" srcId="{681BE1AD-CD47-468E-B84C-7A6E7382ED04}" destId="{C7BC34ED-3603-44E7-8E5D-14D4365C4E4D}" srcOrd="1" destOrd="0" presId="urn:microsoft.com/office/officeart/2005/8/layout/list1"/>
    <dgm:cxn modelId="{6C85DF10-EC8D-4690-A0FD-9BBD399C3577}" type="presParOf" srcId="{681BE1AD-CD47-468E-B84C-7A6E7382ED04}" destId="{912F4635-21CE-4F07-8730-A1D3499273EB}" srcOrd="2" destOrd="0" presId="urn:microsoft.com/office/officeart/2005/8/layout/list1"/>
    <dgm:cxn modelId="{CF3BDF8D-0E15-4D14-A74F-C5371ABA00D4}" type="presParOf" srcId="{681BE1AD-CD47-468E-B84C-7A6E7382ED04}" destId="{653D1D18-8CE2-4F16-A3E1-6C41DC0A60C5}" srcOrd="3" destOrd="0" presId="urn:microsoft.com/office/officeart/2005/8/layout/list1"/>
    <dgm:cxn modelId="{1A0A04D8-6EDC-4ED4-80C8-0E1D713E66BE}" type="presParOf" srcId="{681BE1AD-CD47-468E-B84C-7A6E7382ED04}" destId="{53AB6ACA-BFA0-415A-B9A8-4CAB6925CD28}" srcOrd="4" destOrd="0" presId="urn:microsoft.com/office/officeart/2005/8/layout/list1"/>
    <dgm:cxn modelId="{5EDE80A1-504F-4068-91AA-003343607E48}" type="presParOf" srcId="{53AB6ACA-BFA0-415A-B9A8-4CAB6925CD28}" destId="{9EA5215C-9065-496D-A0EC-E0713FCE84A1}" srcOrd="0" destOrd="0" presId="urn:microsoft.com/office/officeart/2005/8/layout/list1"/>
    <dgm:cxn modelId="{548A9D5A-6785-4E55-8E82-7A4CE1444C0A}" type="presParOf" srcId="{53AB6ACA-BFA0-415A-B9A8-4CAB6925CD28}" destId="{0FE5BE88-CBDD-4548-AC9F-A256B09EABDB}" srcOrd="1" destOrd="0" presId="urn:microsoft.com/office/officeart/2005/8/layout/list1"/>
    <dgm:cxn modelId="{844F95F6-D61B-405B-89F4-D0EDDE63F3BA}" type="presParOf" srcId="{681BE1AD-CD47-468E-B84C-7A6E7382ED04}" destId="{0026EF63-3079-4C14-A147-56A2B9C08DCE}" srcOrd="5" destOrd="0" presId="urn:microsoft.com/office/officeart/2005/8/layout/list1"/>
    <dgm:cxn modelId="{5B57DDB2-AF26-4B29-847F-95C5DD489DC0}" type="presParOf" srcId="{681BE1AD-CD47-468E-B84C-7A6E7382ED04}" destId="{A1E8898D-C053-4A4B-9961-6CDACB497162}" srcOrd="6" destOrd="0" presId="urn:microsoft.com/office/officeart/2005/8/layout/list1"/>
    <dgm:cxn modelId="{8C920801-6D40-45D9-913E-E46E4005E6F5}" type="presParOf" srcId="{681BE1AD-CD47-468E-B84C-7A6E7382ED04}" destId="{1C189B76-1589-4C1D-A400-3CAFDEF7894F}" srcOrd="7" destOrd="0" presId="urn:microsoft.com/office/officeart/2005/8/layout/list1"/>
    <dgm:cxn modelId="{59AD04DF-C21C-46D0-B54B-8C99F811D3E4}" type="presParOf" srcId="{681BE1AD-CD47-468E-B84C-7A6E7382ED04}" destId="{527369E0-0E60-4342-9898-57CDC18122A2}" srcOrd="8" destOrd="0" presId="urn:microsoft.com/office/officeart/2005/8/layout/list1"/>
    <dgm:cxn modelId="{BF384AC3-2F2A-43DA-81C0-F0BC42EA7B14}" type="presParOf" srcId="{527369E0-0E60-4342-9898-57CDC18122A2}" destId="{CAE6FA5B-3685-4F11-B2C7-39BA6E8E41F0}" srcOrd="0" destOrd="0" presId="urn:microsoft.com/office/officeart/2005/8/layout/list1"/>
    <dgm:cxn modelId="{593CB694-90B8-4984-8DF9-DF978497C7B2}" type="presParOf" srcId="{527369E0-0E60-4342-9898-57CDC18122A2}" destId="{4C2E1E2B-F285-4E3F-AD53-3BE27464461E}" srcOrd="1" destOrd="0" presId="urn:microsoft.com/office/officeart/2005/8/layout/list1"/>
    <dgm:cxn modelId="{13D75E96-3AD3-4BF5-B04D-879CA8518E9C}" type="presParOf" srcId="{681BE1AD-CD47-468E-B84C-7A6E7382ED04}" destId="{EF16D300-F210-4E05-AC2E-49BEBB1B0FD7}" srcOrd="9" destOrd="0" presId="urn:microsoft.com/office/officeart/2005/8/layout/list1"/>
    <dgm:cxn modelId="{A11D431A-CB9B-4CE4-95C4-EA799B54EB9E}" type="presParOf" srcId="{681BE1AD-CD47-468E-B84C-7A6E7382ED04}" destId="{44A46D18-D3E9-49DB-9D4E-2978F20E9520}" srcOrd="10" destOrd="0" presId="urn:microsoft.com/office/officeart/2005/8/layout/list1"/>
    <dgm:cxn modelId="{AB3E4EF5-605D-4A47-B331-155FC94C705F}" type="presParOf" srcId="{681BE1AD-CD47-468E-B84C-7A6E7382ED04}" destId="{7397E80D-F78E-4237-96CA-A0B68E6EF8CB}" srcOrd="11" destOrd="0" presId="urn:microsoft.com/office/officeart/2005/8/layout/list1"/>
    <dgm:cxn modelId="{0E50AE1E-9BB5-4CA2-9F51-6EC178AF9022}" type="presParOf" srcId="{681BE1AD-CD47-468E-B84C-7A6E7382ED04}" destId="{6BCB4FE3-9D1D-42DF-B7D3-12A4ED5CBBDE}" srcOrd="12" destOrd="0" presId="urn:microsoft.com/office/officeart/2005/8/layout/list1"/>
    <dgm:cxn modelId="{9FB2DF29-B17E-46F7-9710-C338040B15DE}" type="presParOf" srcId="{6BCB4FE3-9D1D-42DF-B7D3-12A4ED5CBBDE}" destId="{629CDFA6-A004-4945-AE1F-27EAAF55439C}" srcOrd="0" destOrd="0" presId="urn:microsoft.com/office/officeart/2005/8/layout/list1"/>
    <dgm:cxn modelId="{C0C1CE30-320C-4C6A-84E2-FFF689B42BD3}" type="presParOf" srcId="{6BCB4FE3-9D1D-42DF-B7D3-12A4ED5CBBDE}" destId="{CE49B867-A00E-4861-B236-AE331812F218}" srcOrd="1" destOrd="0" presId="urn:microsoft.com/office/officeart/2005/8/layout/list1"/>
    <dgm:cxn modelId="{947E63BE-9D20-4B30-8A37-1CEDA731476D}" type="presParOf" srcId="{681BE1AD-CD47-468E-B84C-7A6E7382ED04}" destId="{A41E70AE-A694-445D-B8CD-252DDD4DEDB0}" srcOrd="13" destOrd="0" presId="urn:microsoft.com/office/officeart/2005/8/layout/list1"/>
    <dgm:cxn modelId="{7A1A4352-4BBC-44F3-8712-F9EA9DC25721}" type="presParOf" srcId="{681BE1AD-CD47-468E-B84C-7A6E7382ED04}" destId="{AE5C2A29-F76A-43F2-BDB4-CA8AFBE2C995}" srcOrd="14"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E94A338-68DE-4B0C-971A-A8D49D3E51E6}" type="doc">
      <dgm:prSet loTypeId="urn:microsoft.com/office/officeart/2008/layout/LinedList" loCatId="list" qsTypeId="urn:microsoft.com/office/officeart/2005/8/quickstyle/simple1" qsCatId="simple" csTypeId="urn:microsoft.com/office/officeart/2005/8/colors/colorful1" csCatId="colorful" phldr="1"/>
      <dgm:spPr/>
      <dgm:t>
        <a:bodyPr/>
        <a:lstStyle/>
        <a:p>
          <a:endParaRPr lang="en-US"/>
        </a:p>
      </dgm:t>
    </dgm:pt>
    <dgm:pt modelId="{5C5002D9-EEDA-49A2-885A-C8029CC14C48}">
      <dgm:prSet custT="1"/>
      <dgm:spPr/>
      <dgm:t>
        <a:bodyPr/>
        <a:lstStyle/>
        <a:p>
          <a:r>
            <a:rPr lang="en-US" sz="2800"/>
            <a:t>When a command is called, it is </a:t>
          </a:r>
          <a:r>
            <a:rPr lang="en-US" sz="2800" b="1"/>
            <a:t>added</a:t>
          </a:r>
          <a:r>
            <a:rPr lang="en-US" sz="2800"/>
            <a:t> to the </a:t>
          </a:r>
          <a:r>
            <a:rPr lang="en-US" sz="2800" b="1"/>
            <a:t>top</a:t>
          </a:r>
          <a:r>
            <a:rPr lang="en-US" sz="2800"/>
            <a:t> of the stack</a:t>
          </a:r>
        </a:p>
      </dgm:t>
    </dgm:pt>
    <dgm:pt modelId="{8E31A18F-4121-4EAD-9D27-E4F58B11F541}" type="parTrans" cxnId="{9FA0E625-F7D4-4769-A733-5EA2262B9199}">
      <dgm:prSet/>
      <dgm:spPr/>
      <dgm:t>
        <a:bodyPr/>
        <a:lstStyle/>
        <a:p>
          <a:endParaRPr lang="en-US" sz="2800"/>
        </a:p>
      </dgm:t>
    </dgm:pt>
    <dgm:pt modelId="{652C03FF-7BC9-4F49-8A7E-1A46CD1398CE}" type="sibTrans" cxnId="{9FA0E625-F7D4-4769-A733-5EA2262B9199}">
      <dgm:prSet/>
      <dgm:spPr/>
      <dgm:t>
        <a:bodyPr/>
        <a:lstStyle/>
        <a:p>
          <a:endParaRPr lang="en-US" sz="2800"/>
        </a:p>
      </dgm:t>
    </dgm:pt>
    <dgm:pt modelId="{E182B319-B66C-478E-9A1B-1EA638AA4384}">
      <dgm:prSet custT="1"/>
      <dgm:spPr/>
      <dgm:t>
        <a:bodyPr/>
        <a:lstStyle/>
        <a:p>
          <a:r>
            <a:rPr lang="en-US" sz="2800" b="1"/>
            <a:t>Get-PSCallStack</a:t>
          </a:r>
          <a:r>
            <a:rPr lang="en-US" sz="2800"/>
            <a:t> shows all current commands on the stack</a:t>
          </a:r>
        </a:p>
      </dgm:t>
    </dgm:pt>
    <dgm:pt modelId="{04F26624-1C3D-47DF-9958-B8A6752F0B5B}" type="parTrans" cxnId="{C7C2C339-570C-4E96-8CC0-135F1974E061}">
      <dgm:prSet/>
      <dgm:spPr/>
      <dgm:t>
        <a:bodyPr/>
        <a:lstStyle/>
        <a:p>
          <a:endParaRPr lang="en-US" sz="2800"/>
        </a:p>
      </dgm:t>
    </dgm:pt>
    <dgm:pt modelId="{9CF187D4-BF90-4C33-A97B-4DEAF1CFEB4B}" type="sibTrans" cxnId="{C7C2C339-570C-4E96-8CC0-135F1974E061}">
      <dgm:prSet/>
      <dgm:spPr/>
      <dgm:t>
        <a:bodyPr/>
        <a:lstStyle/>
        <a:p>
          <a:endParaRPr lang="en-US" sz="2800"/>
        </a:p>
      </dgm:t>
    </dgm:pt>
    <dgm:pt modelId="{3C9DD9EC-EA2A-4396-9FB9-030E2DA4B0C5}">
      <dgm:prSet custT="1"/>
      <dgm:spPr/>
      <dgm:t>
        <a:bodyPr/>
        <a:lstStyle/>
        <a:p>
          <a:r>
            <a:rPr lang="en-US" sz="2800"/>
            <a:t>Parameter </a:t>
          </a:r>
          <a:r>
            <a:rPr lang="en-US" sz="2800" b="1"/>
            <a:t>values</a:t>
          </a:r>
          <a:r>
            <a:rPr lang="en-US" sz="2800"/>
            <a:t> are tracked on the call stack</a:t>
          </a:r>
        </a:p>
      </dgm:t>
    </dgm:pt>
    <dgm:pt modelId="{5EBCBDB3-9A7F-4625-9C82-6E009EC1537B}" type="parTrans" cxnId="{0DAAD59D-3BB8-4282-99DA-4147022E9C10}">
      <dgm:prSet/>
      <dgm:spPr/>
      <dgm:t>
        <a:bodyPr/>
        <a:lstStyle/>
        <a:p>
          <a:endParaRPr lang="en-US" sz="2800"/>
        </a:p>
      </dgm:t>
    </dgm:pt>
    <dgm:pt modelId="{2A248F1C-98B7-453F-8DBC-5A7CA899C480}" type="sibTrans" cxnId="{0DAAD59D-3BB8-4282-99DA-4147022E9C10}">
      <dgm:prSet/>
      <dgm:spPr/>
      <dgm:t>
        <a:bodyPr/>
        <a:lstStyle/>
        <a:p>
          <a:endParaRPr lang="en-US" sz="2800"/>
        </a:p>
      </dgm:t>
    </dgm:pt>
    <dgm:pt modelId="{997E0908-0750-4185-8A46-8BDC54DD8EDB}">
      <dgm:prSet custT="1"/>
      <dgm:spPr/>
      <dgm:t>
        <a:bodyPr/>
        <a:lstStyle/>
        <a:p>
          <a:r>
            <a:rPr lang="en-US" sz="2800"/>
            <a:t>A </a:t>
          </a:r>
          <a:r>
            <a:rPr lang="en-US" sz="2800" b="1"/>
            <a:t>map</a:t>
          </a:r>
          <a:r>
            <a:rPr lang="en-US" sz="2800"/>
            <a:t> of the functions called to arrive at the current line of code</a:t>
          </a:r>
        </a:p>
      </dgm:t>
    </dgm:pt>
    <dgm:pt modelId="{DC0C6160-A818-4947-9C33-26898668BB3B}" type="parTrans" cxnId="{5AD391B6-0DF0-4768-B39D-5F21B0ECBE6A}">
      <dgm:prSet/>
      <dgm:spPr/>
      <dgm:t>
        <a:bodyPr/>
        <a:lstStyle/>
        <a:p>
          <a:endParaRPr lang="en-US" sz="2800"/>
        </a:p>
      </dgm:t>
    </dgm:pt>
    <dgm:pt modelId="{9DC291F5-3A7C-433A-B0A4-5718EFA8813C}" type="sibTrans" cxnId="{5AD391B6-0DF0-4768-B39D-5F21B0ECBE6A}">
      <dgm:prSet/>
      <dgm:spPr/>
      <dgm:t>
        <a:bodyPr/>
        <a:lstStyle/>
        <a:p>
          <a:endParaRPr lang="en-US" sz="2800"/>
        </a:p>
      </dgm:t>
    </dgm:pt>
    <dgm:pt modelId="{79D50249-A8E4-4725-BA6F-8BDEB37F8B2A}">
      <dgm:prSet custT="1"/>
      <dgm:spPr/>
      <dgm:t>
        <a:bodyPr/>
        <a:lstStyle/>
        <a:p>
          <a:r>
            <a:rPr lang="en-US" sz="2800"/>
            <a:t>Commands are </a:t>
          </a:r>
          <a:r>
            <a:rPr lang="en-US" sz="2800" b="1"/>
            <a:t>executed</a:t>
          </a:r>
          <a:r>
            <a:rPr lang="en-US" sz="2800"/>
            <a:t> from the </a:t>
          </a:r>
          <a:r>
            <a:rPr lang="en-US" sz="2800" b="1"/>
            <a:t>top</a:t>
          </a:r>
          <a:r>
            <a:rPr lang="en-US" sz="2800"/>
            <a:t> of the stack</a:t>
          </a:r>
        </a:p>
      </dgm:t>
    </dgm:pt>
    <dgm:pt modelId="{C4A8D419-A555-4416-A444-A1FFC80ACEB0}" type="parTrans" cxnId="{4A1A433F-08B6-417A-B159-599974ED0310}">
      <dgm:prSet/>
      <dgm:spPr/>
      <dgm:t>
        <a:bodyPr/>
        <a:lstStyle/>
        <a:p>
          <a:endParaRPr lang="en-US" sz="2800"/>
        </a:p>
      </dgm:t>
    </dgm:pt>
    <dgm:pt modelId="{55B2FBA9-438E-4658-B1B6-CA78CCA524A4}" type="sibTrans" cxnId="{4A1A433F-08B6-417A-B159-599974ED0310}">
      <dgm:prSet/>
      <dgm:spPr/>
      <dgm:t>
        <a:bodyPr/>
        <a:lstStyle/>
        <a:p>
          <a:endParaRPr lang="en-US" sz="2800"/>
        </a:p>
      </dgm:t>
    </dgm:pt>
    <dgm:pt modelId="{D0AFBC58-C2E5-4BB6-881D-847B37B8737F}" type="pres">
      <dgm:prSet presAssocID="{7E94A338-68DE-4B0C-971A-A8D49D3E51E6}" presName="vert0" presStyleCnt="0">
        <dgm:presLayoutVars>
          <dgm:dir/>
          <dgm:animOne val="branch"/>
          <dgm:animLvl val="lvl"/>
        </dgm:presLayoutVars>
      </dgm:prSet>
      <dgm:spPr/>
    </dgm:pt>
    <dgm:pt modelId="{6CEAC22C-B91D-4799-9716-67455FAACC2F}" type="pres">
      <dgm:prSet presAssocID="{997E0908-0750-4185-8A46-8BDC54DD8EDB}" presName="thickLine" presStyleLbl="alignNode1" presStyleIdx="0" presStyleCnt="5"/>
      <dgm:spPr/>
    </dgm:pt>
    <dgm:pt modelId="{F5E69EF2-009E-4D95-A632-97D3979B5D49}" type="pres">
      <dgm:prSet presAssocID="{997E0908-0750-4185-8A46-8BDC54DD8EDB}" presName="horz1" presStyleCnt="0"/>
      <dgm:spPr/>
    </dgm:pt>
    <dgm:pt modelId="{BCB372A6-A487-40EE-A439-1C1256DE8341}" type="pres">
      <dgm:prSet presAssocID="{997E0908-0750-4185-8A46-8BDC54DD8EDB}" presName="tx1" presStyleLbl="revTx" presStyleIdx="0" presStyleCnt="5"/>
      <dgm:spPr/>
    </dgm:pt>
    <dgm:pt modelId="{E98BBE06-3910-4FCB-9096-0F53FBA03533}" type="pres">
      <dgm:prSet presAssocID="{997E0908-0750-4185-8A46-8BDC54DD8EDB}" presName="vert1" presStyleCnt="0"/>
      <dgm:spPr/>
    </dgm:pt>
    <dgm:pt modelId="{E158AE44-A6B1-4737-8AAC-044278C68614}" type="pres">
      <dgm:prSet presAssocID="{5C5002D9-EEDA-49A2-885A-C8029CC14C48}" presName="thickLine" presStyleLbl="alignNode1" presStyleIdx="1" presStyleCnt="5"/>
      <dgm:spPr/>
    </dgm:pt>
    <dgm:pt modelId="{25FA8522-3F6C-4B47-83F6-893AF9F93013}" type="pres">
      <dgm:prSet presAssocID="{5C5002D9-EEDA-49A2-885A-C8029CC14C48}" presName="horz1" presStyleCnt="0"/>
      <dgm:spPr/>
    </dgm:pt>
    <dgm:pt modelId="{C3EE35F8-CB35-42B4-9569-256AE017C36E}" type="pres">
      <dgm:prSet presAssocID="{5C5002D9-EEDA-49A2-885A-C8029CC14C48}" presName="tx1" presStyleLbl="revTx" presStyleIdx="1" presStyleCnt="5" custLinFactNeighborX="-275" custLinFactNeighborY="2812"/>
      <dgm:spPr/>
    </dgm:pt>
    <dgm:pt modelId="{8A1CF84C-FDD3-4044-A170-87B9DFA5AF1C}" type="pres">
      <dgm:prSet presAssocID="{5C5002D9-EEDA-49A2-885A-C8029CC14C48}" presName="vert1" presStyleCnt="0"/>
      <dgm:spPr/>
    </dgm:pt>
    <dgm:pt modelId="{9FC4D28A-9012-4A54-893A-7E61420C2986}" type="pres">
      <dgm:prSet presAssocID="{79D50249-A8E4-4725-BA6F-8BDEB37F8B2A}" presName="thickLine" presStyleLbl="alignNode1" presStyleIdx="2" presStyleCnt="5"/>
      <dgm:spPr/>
    </dgm:pt>
    <dgm:pt modelId="{581AAD81-4287-4F35-BB19-028EAD553E0D}" type="pres">
      <dgm:prSet presAssocID="{79D50249-A8E4-4725-BA6F-8BDEB37F8B2A}" presName="horz1" presStyleCnt="0"/>
      <dgm:spPr/>
    </dgm:pt>
    <dgm:pt modelId="{07983D69-54AF-4120-9CCC-3D06243DBE3E}" type="pres">
      <dgm:prSet presAssocID="{79D50249-A8E4-4725-BA6F-8BDEB37F8B2A}" presName="tx1" presStyleLbl="revTx" presStyleIdx="2" presStyleCnt="5"/>
      <dgm:spPr/>
    </dgm:pt>
    <dgm:pt modelId="{A44E0308-7C8D-4E6A-915B-1B3E08E94047}" type="pres">
      <dgm:prSet presAssocID="{79D50249-A8E4-4725-BA6F-8BDEB37F8B2A}" presName="vert1" presStyleCnt="0"/>
      <dgm:spPr/>
    </dgm:pt>
    <dgm:pt modelId="{B2D4C2B0-285F-4448-B96A-91EA22747922}" type="pres">
      <dgm:prSet presAssocID="{E182B319-B66C-478E-9A1B-1EA638AA4384}" presName="thickLine" presStyleLbl="alignNode1" presStyleIdx="3" presStyleCnt="5"/>
      <dgm:spPr/>
    </dgm:pt>
    <dgm:pt modelId="{555DE3E4-AE67-4A1B-AD03-98844324D009}" type="pres">
      <dgm:prSet presAssocID="{E182B319-B66C-478E-9A1B-1EA638AA4384}" presName="horz1" presStyleCnt="0"/>
      <dgm:spPr/>
    </dgm:pt>
    <dgm:pt modelId="{5EE9D28A-4D58-4062-91F8-150E662E3337}" type="pres">
      <dgm:prSet presAssocID="{E182B319-B66C-478E-9A1B-1EA638AA4384}" presName="tx1" presStyleLbl="revTx" presStyleIdx="3" presStyleCnt="5"/>
      <dgm:spPr/>
    </dgm:pt>
    <dgm:pt modelId="{519EAF4B-B3C9-4B15-9EC4-450CBA736EA8}" type="pres">
      <dgm:prSet presAssocID="{E182B319-B66C-478E-9A1B-1EA638AA4384}" presName="vert1" presStyleCnt="0"/>
      <dgm:spPr/>
    </dgm:pt>
    <dgm:pt modelId="{74FD962D-138E-4F12-A8C1-4D60A7BAC90C}" type="pres">
      <dgm:prSet presAssocID="{3C9DD9EC-EA2A-4396-9FB9-030E2DA4B0C5}" presName="thickLine" presStyleLbl="alignNode1" presStyleIdx="4" presStyleCnt="5"/>
      <dgm:spPr/>
    </dgm:pt>
    <dgm:pt modelId="{810FD2C1-7C76-4BB0-859A-75302AD97E79}" type="pres">
      <dgm:prSet presAssocID="{3C9DD9EC-EA2A-4396-9FB9-030E2DA4B0C5}" presName="horz1" presStyleCnt="0"/>
      <dgm:spPr/>
    </dgm:pt>
    <dgm:pt modelId="{B4DBF221-22AA-4EDC-9394-973622E7263A}" type="pres">
      <dgm:prSet presAssocID="{3C9DD9EC-EA2A-4396-9FB9-030E2DA4B0C5}" presName="tx1" presStyleLbl="revTx" presStyleIdx="4" presStyleCnt="5"/>
      <dgm:spPr/>
    </dgm:pt>
    <dgm:pt modelId="{BE8D1A68-428E-4DB3-B0B4-7120595E3FC8}" type="pres">
      <dgm:prSet presAssocID="{3C9DD9EC-EA2A-4396-9FB9-030E2DA4B0C5}" presName="vert1" presStyleCnt="0"/>
      <dgm:spPr/>
    </dgm:pt>
  </dgm:ptLst>
  <dgm:cxnLst>
    <dgm:cxn modelId="{D96A4F15-117B-477F-979B-3D79E6581345}" type="presOf" srcId="{5C5002D9-EEDA-49A2-885A-C8029CC14C48}" destId="{C3EE35F8-CB35-42B4-9569-256AE017C36E}" srcOrd="0" destOrd="0" presId="urn:microsoft.com/office/officeart/2008/layout/LinedList"/>
    <dgm:cxn modelId="{9FA0E625-F7D4-4769-A733-5EA2262B9199}" srcId="{7E94A338-68DE-4B0C-971A-A8D49D3E51E6}" destId="{5C5002D9-EEDA-49A2-885A-C8029CC14C48}" srcOrd="1" destOrd="0" parTransId="{8E31A18F-4121-4EAD-9D27-E4F58B11F541}" sibTransId="{652C03FF-7BC9-4F49-8A7E-1A46CD1398CE}"/>
    <dgm:cxn modelId="{C7C2C339-570C-4E96-8CC0-135F1974E061}" srcId="{7E94A338-68DE-4B0C-971A-A8D49D3E51E6}" destId="{E182B319-B66C-478E-9A1B-1EA638AA4384}" srcOrd="3" destOrd="0" parTransId="{04F26624-1C3D-47DF-9958-B8A6752F0B5B}" sibTransId="{9CF187D4-BF90-4C33-A97B-4DEAF1CFEB4B}"/>
    <dgm:cxn modelId="{4A1A433F-08B6-417A-B159-599974ED0310}" srcId="{7E94A338-68DE-4B0C-971A-A8D49D3E51E6}" destId="{79D50249-A8E4-4725-BA6F-8BDEB37F8B2A}" srcOrd="2" destOrd="0" parTransId="{C4A8D419-A555-4416-A444-A1FFC80ACEB0}" sibTransId="{55B2FBA9-438E-4658-B1B6-CA78CCA524A4}"/>
    <dgm:cxn modelId="{3721B75C-BCF0-497B-B1B0-39BFBB19B4CD}" type="presOf" srcId="{3C9DD9EC-EA2A-4396-9FB9-030E2DA4B0C5}" destId="{B4DBF221-22AA-4EDC-9394-973622E7263A}" srcOrd="0" destOrd="0" presId="urn:microsoft.com/office/officeart/2008/layout/LinedList"/>
    <dgm:cxn modelId="{BB59B750-1EF2-469A-A5BD-7BE1D27CB2DB}" type="presOf" srcId="{997E0908-0750-4185-8A46-8BDC54DD8EDB}" destId="{BCB372A6-A487-40EE-A439-1C1256DE8341}" srcOrd="0" destOrd="0" presId="urn:microsoft.com/office/officeart/2008/layout/LinedList"/>
    <dgm:cxn modelId="{E982577F-D651-4EDE-8C9C-072AC53F2D49}" type="presOf" srcId="{79D50249-A8E4-4725-BA6F-8BDEB37F8B2A}" destId="{07983D69-54AF-4120-9CCC-3D06243DBE3E}" srcOrd="0" destOrd="0" presId="urn:microsoft.com/office/officeart/2008/layout/LinedList"/>
    <dgm:cxn modelId="{6DA34093-2E45-4173-9B78-46992E7FEE69}" type="presOf" srcId="{E182B319-B66C-478E-9A1B-1EA638AA4384}" destId="{5EE9D28A-4D58-4062-91F8-150E662E3337}" srcOrd="0" destOrd="0" presId="urn:microsoft.com/office/officeart/2008/layout/LinedList"/>
    <dgm:cxn modelId="{0DAAD59D-3BB8-4282-99DA-4147022E9C10}" srcId="{7E94A338-68DE-4B0C-971A-A8D49D3E51E6}" destId="{3C9DD9EC-EA2A-4396-9FB9-030E2DA4B0C5}" srcOrd="4" destOrd="0" parTransId="{5EBCBDB3-9A7F-4625-9C82-6E009EC1537B}" sibTransId="{2A248F1C-98B7-453F-8DBC-5A7CA899C480}"/>
    <dgm:cxn modelId="{5AD391B6-0DF0-4768-B39D-5F21B0ECBE6A}" srcId="{7E94A338-68DE-4B0C-971A-A8D49D3E51E6}" destId="{997E0908-0750-4185-8A46-8BDC54DD8EDB}" srcOrd="0" destOrd="0" parTransId="{DC0C6160-A818-4947-9C33-26898668BB3B}" sibTransId="{9DC291F5-3A7C-433A-B0A4-5718EFA8813C}"/>
    <dgm:cxn modelId="{0D53DFE7-F638-4C41-819F-E82CE9DCAE5F}" type="presOf" srcId="{7E94A338-68DE-4B0C-971A-A8D49D3E51E6}" destId="{D0AFBC58-C2E5-4BB6-881D-847B37B8737F}" srcOrd="0" destOrd="0" presId="urn:microsoft.com/office/officeart/2008/layout/LinedList"/>
    <dgm:cxn modelId="{5F908FE6-9C19-4D96-889E-78E4A04B9BF9}" type="presParOf" srcId="{D0AFBC58-C2E5-4BB6-881D-847B37B8737F}" destId="{6CEAC22C-B91D-4799-9716-67455FAACC2F}" srcOrd="0" destOrd="0" presId="urn:microsoft.com/office/officeart/2008/layout/LinedList"/>
    <dgm:cxn modelId="{7D422A1F-212E-4836-9C49-C0AC270298F1}" type="presParOf" srcId="{D0AFBC58-C2E5-4BB6-881D-847B37B8737F}" destId="{F5E69EF2-009E-4D95-A632-97D3979B5D49}" srcOrd="1" destOrd="0" presId="urn:microsoft.com/office/officeart/2008/layout/LinedList"/>
    <dgm:cxn modelId="{C580431B-A225-4C6F-B13A-2E0FF7D5A800}" type="presParOf" srcId="{F5E69EF2-009E-4D95-A632-97D3979B5D49}" destId="{BCB372A6-A487-40EE-A439-1C1256DE8341}" srcOrd="0" destOrd="0" presId="urn:microsoft.com/office/officeart/2008/layout/LinedList"/>
    <dgm:cxn modelId="{E60BB5F2-96B0-4FAD-A0BD-2E98B9C15705}" type="presParOf" srcId="{F5E69EF2-009E-4D95-A632-97D3979B5D49}" destId="{E98BBE06-3910-4FCB-9096-0F53FBA03533}" srcOrd="1" destOrd="0" presId="urn:microsoft.com/office/officeart/2008/layout/LinedList"/>
    <dgm:cxn modelId="{B5AE4B32-D9CB-4530-857E-57DA65605195}" type="presParOf" srcId="{D0AFBC58-C2E5-4BB6-881D-847B37B8737F}" destId="{E158AE44-A6B1-4737-8AAC-044278C68614}" srcOrd="2" destOrd="0" presId="urn:microsoft.com/office/officeart/2008/layout/LinedList"/>
    <dgm:cxn modelId="{BF93F4C6-461E-4F57-A4B0-73270CA1CFC3}" type="presParOf" srcId="{D0AFBC58-C2E5-4BB6-881D-847B37B8737F}" destId="{25FA8522-3F6C-4B47-83F6-893AF9F93013}" srcOrd="3" destOrd="0" presId="urn:microsoft.com/office/officeart/2008/layout/LinedList"/>
    <dgm:cxn modelId="{D3949ECD-D47E-4C3D-A8AC-1CD88531B7A3}" type="presParOf" srcId="{25FA8522-3F6C-4B47-83F6-893AF9F93013}" destId="{C3EE35F8-CB35-42B4-9569-256AE017C36E}" srcOrd="0" destOrd="0" presId="urn:microsoft.com/office/officeart/2008/layout/LinedList"/>
    <dgm:cxn modelId="{630E8D68-619E-46B7-9561-72E45FB28108}" type="presParOf" srcId="{25FA8522-3F6C-4B47-83F6-893AF9F93013}" destId="{8A1CF84C-FDD3-4044-A170-87B9DFA5AF1C}" srcOrd="1" destOrd="0" presId="urn:microsoft.com/office/officeart/2008/layout/LinedList"/>
    <dgm:cxn modelId="{C8671476-9899-4B54-B90C-306432AD3474}" type="presParOf" srcId="{D0AFBC58-C2E5-4BB6-881D-847B37B8737F}" destId="{9FC4D28A-9012-4A54-893A-7E61420C2986}" srcOrd="4" destOrd="0" presId="urn:microsoft.com/office/officeart/2008/layout/LinedList"/>
    <dgm:cxn modelId="{172DB4A7-3430-4DC8-99FC-D87A4F255E45}" type="presParOf" srcId="{D0AFBC58-C2E5-4BB6-881D-847B37B8737F}" destId="{581AAD81-4287-4F35-BB19-028EAD553E0D}" srcOrd="5" destOrd="0" presId="urn:microsoft.com/office/officeart/2008/layout/LinedList"/>
    <dgm:cxn modelId="{C814041E-E85A-41EF-88F3-A81E28CA9227}" type="presParOf" srcId="{581AAD81-4287-4F35-BB19-028EAD553E0D}" destId="{07983D69-54AF-4120-9CCC-3D06243DBE3E}" srcOrd="0" destOrd="0" presId="urn:microsoft.com/office/officeart/2008/layout/LinedList"/>
    <dgm:cxn modelId="{C589D231-D988-4540-BA09-A34E36834B33}" type="presParOf" srcId="{581AAD81-4287-4F35-BB19-028EAD553E0D}" destId="{A44E0308-7C8D-4E6A-915B-1B3E08E94047}" srcOrd="1" destOrd="0" presId="urn:microsoft.com/office/officeart/2008/layout/LinedList"/>
    <dgm:cxn modelId="{4191FB0B-5D8A-4CB3-8E33-ED64BDFE71D6}" type="presParOf" srcId="{D0AFBC58-C2E5-4BB6-881D-847B37B8737F}" destId="{B2D4C2B0-285F-4448-B96A-91EA22747922}" srcOrd="6" destOrd="0" presId="urn:microsoft.com/office/officeart/2008/layout/LinedList"/>
    <dgm:cxn modelId="{6863577D-B43D-42BA-BFD8-1DD2E55B8F9A}" type="presParOf" srcId="{D0AFBC58-C2E5-4BB6-881D-847B37B8737F}" destId="{555DE3E4-AE67-4A1B-AD03-98844324D009}" srcOrd="7" destOrd="0" presId="urn:microsoft.com/office/officeart/2008/layout/LinedList"/>
    <dgm:cxn modelId="{1E83DDAA-07BB-4507-B763-DCAB23EC5117}" type="presParOf" srcId="{555DE3E4-AE67-4A1B-AD03-98844324D009}" destId="{5EE9D28A-4D58-4062-91F8-150E662E3337}" srcOrd="0" destOrd="0" presId="urn:microsoft.com/office/officeart/2008/layout/LinedList"/>
    <dgm:cxn modelId="{90A009AC-5D9B-41E5-81F3-EF73FF89E46B}" type="presParOf" srcId="{555DE3E4-AE67-4A1B-AD03-98844324D009}" destId="{519EAF4B-B3C9-4B15-9EC4-450CBA736EA8}" srcOrd="1" destOrd="0" presId="urn:microsoft.com/office/officeart/2008/layout/LinedList"/>
    <dgm:cxn modelId="{2B66D985-7BC6-4F0D-882A-15C4967E85C7}" type="presParOf" srcId="{D0AFBC58-C2E5-4BB6-881D-847B37B8737F}" destId="{74FD962D-138E-4F12-A8C1-4D60A7BAC90C}" srcOrd="8" destOrd="0" presId="urn:microsoft.com/office/officeart/2008/layout/LinedList"/>
    <dgm:cxn modelId="{FD61F3E5-B218-4EF1-9971-8A61644C1CD5}" type="presParOf" srcId="{D0AFBC58-C2E5-4BB6-881D-847B37B8737F}" destId="{810FD2C1-7C76-4BB0-859A-75302AD97E79}" srcOrd="9" destOrd="0" presId="urn:microsoft.com/office/officeart/2008/layout/LinedList"/>
    <dgm:cxn modelId="{611175C9-6AD4-4178-A4AD-5B6A546DD1A9}" type="presParOf" srcId="{810FD2C1-7C76-4BB0-859A-75302AD97E79}" destId="{B4DBF221-22AA-4EDC-9394-973622E7263A}" srcOrd="0" destOrd="0" presId="urn:microsoft.com/office/officeart/2008/layout/LinedList"/>
    <dgm:cxn modelId="{C2EDC99A-EFE1-490D-B2BD-530CB86581D7}" type="presParOf" srcId="{810FD2C1-7C76-4BB0-859A-75302AD97E79}" destId="{BE8D1A68-428E-4DB3-B0B4-7120595E3FC8}"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452F5E-9980-4AEA-8AC1-9A079E63CE36}">
      <dsp:nvSpPr>
        <dsp:cNvPr id="0" name=""/>
        <dsp:cNvSpPr/>
      </dsp:nvSpPr>
      <dsp:spPr>
        <a:xfrm>
          <a:off x="0" y="1771"/>
          <a:ext cx="10880726" cy="75488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BA25CBC-05BE-4D70-BFD9-4D6E2875F41D}">
      <dsp:nvSpPr>
        <dsp:cNvPr id="0" name=""/>
        <dsp:cNvSpPr/>
      </dsp:nvSpPr>
      <dsp:spPr>
        <a:xfrm>
          <a:off x="228352" y="171620"/>
          <a:ext cx="415186" cy="415186"/>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B018CFF-A107-4CEC-AD21-40E8D446B3C4}">
      <dsp:nvSpPr>
        <dsp:cNvPr id="0" name=""/>
        <dsp:cNvSpPr/>
      </dsp:nvSpPr>
      <dsp:spPr>
        <a:xfrm>
          <a:off x="871892" y="1771"/>
          <a:ext cx="10008833" cy="75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92" tIns="79892" rIns="79892" bIns="79892" numCol="1" spcCol="1270" anchor="ctr" anchorCtr="0">
          <a:noAutofit/>
        </a:bodyPr>
        <a:lstStyle/>
        <a:p>
          <a:pPr marL="0" lvl="0" indent="0" algn="l" defTabSz="844550">
            <a:lnSpc>
              <a:spcPct val="100000"/>
            </a:lnSpc>
            <a:spcBef>
              <a:spcPct val="0"/>
            </a:spcBef>
            <a:spcAft>
              <a:spcPct val="35000"/>
            </a:spcAft>
            <a:buNone/>
          </a:pPr>
          <a:r>
            <a:rPr lang="en-US" sz="1900" kern="1200" baseline="0"/>
            <a:t>Debugging Introduction</a:t>
          </a:r>
          <a:endParaRPr lang="en-US" sz="1900" kern="1200"/>
        </a:p>
      </dsp:txBody>
      <dsp:txXfrm>
        <a:off x="871892" y="1771"/>
        <a:ext cx="10008833" cy="754885"/>
      </dsp:txXfrm>
    </dsp:sp>
    <dsp:sp modelId="{1D558748-84C0-4214-9F7B-05CDD2F6988D}">
      <dsp:nvSpPr>
        <dsp:cNvPr id="0" name=""/>
        <dsp:cNvSpPr/>
      </dsp:nvSpPr>
      <dsp:spPr>
        <a:xfrm>
          <a:off x="0" y="945378"/>
          <a:ext cx="10880726" cy="75488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A20D69-5FD7-4328-910E-250C39DAFC73}">
      <dsp:nvSpPr>
        <dsp:cNvPr id="0" name=""/>
        <dsp:cNvSpPr/>
      </dsp:nvSpPr>
      <dsp:spPr>
        <a:xfrm>
          <a:off x="228352" y="1115227"/>
          <a:ext cx="415186" cy="41518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FADF18B-557F-4133-B084-07EA8C1FFE9B}">
      <dsp:nvSpPr>
        <dsp:cNvPr id="0" name=""/>
        <dsp:cNvSpPr/>
      </dsp:nvSpPr>
      <dsp:spPr>
        <a:xfrm>
          <a:off x="871892" y="945378"/>
          <a:ext cx="10008833" cy="75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92" tIns="79892" rIns="79892" bIns="79892" numCol="1" spcCol="1270" anchor="ctr" anchorCtr="0">
          <a:noAutofit/>
        </a:bodyPr>
        <a:lstStyle/>
        <a:p>
          <a:pPr marL="0" lvl="0" indent="0" algn="l" defTabSz="844550">
            <a:lnSpc>
              <a:spcPct val="100000"/>
            </a:lnSpc>
            <a:spcBef>
              <a:spcPct val="0"/>
            </a:spcBef>
            <a:spcAft>
              <a:spcPct val="35000"/>
            </a:spcAft>
            <a:buNone/>
          </a:pPr>
          <a:r>
            <a:rPr lang="en-US" sz="1900" kern="1200"/>
            <a:t>Breakpoints</a:t>
          </a:r>
        </a:p>
      </dsp:txBody>
      <dsp:txXfrm>
        <a:off x="871892" y="945378"/>
        <a:ext cx="10008833" cy="754885"/>
      </dsp:txXfrm>
    </dsp:sp>
    <dsp:sp modelId="{8A0F62EE-7EFD-4842-94E6-F7A5AA86EEAE}">
      <dsp:nvSpPr>
        <dsp:cNvPr id="0" name=""/>
        <dsp:cNvSpPr/>
      </dsp:nvSpPr>
      <dsp:spPr>
        <a:xfrm>
          <a:off x="0" y="1888984"/>
          <a:ext cx="10880726" cy="75488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05894EC-7F7A-4A38-8875-B758099975C6}">
      <dsp:nvSpPr>
        <dsp:cNvPr id="0" name=""/>
        <dsp:cNvSpPr/>
      </dsp:nvSpPr>
      <dsp:spPr>
        <a:xfrm>
          <a:off x="228352" y="2058833"/>
          <a:ext cx="415186" cy="41518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6AD931E-FD08-42D3-8111-65E0CF6CC997}">
      <dsp:nvSpPr>
        <dsp:cNvPr id="0" name=""/>
        <dsp:cNvSpPr/>
      </dsp:nvSpPr>
      <dsp:spPr>
        <a:xfrm>
          <a:off x="871892" y="1888984"/>
          <a:ext cx="10008833" cy="75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92" tIns="79892" rIns="79892" bIns="79892" numCol="1" spcCol="1270" anchor="ctr" anchorCtr="0">
          <a:noAutofit/>
        </a:bodyPr>
        <a:lstStyle/>
        <a:p>
          <a:pPr marL="0" lvl="0" indent="0" algn="l" defTabSz="844550">
            <a:lnSpc>
              <a:spcPct val="100000"/>
            </a:lnSpc>
            <a:spcBef>
              <a:spcPct val="0"/>
            </a:spcBef>
            <a:spcAft>
              <a:spcPct val="35000"/>
            </a:spcAft>
            <a:buNone/>
          </a:pPr>
          <a:r>
            <a:rPr lang="en-US" sz="1900" kern="1200"/>
            <a:t>Debugger Actions</a:t>
          </a:r>
        </a:p>
      </dsp:txBody>
      <dsp:txXfrm>
        <a:off x="871892" y="1888984"/>
        <a:ext cx="10008833" cy="754885"/>
      </dsp:txXfrm>
    </dsp:sp>
    <dsp:sp modelId="{DC5C999E-4F24-4783-BE3D-C88B050C6F8F}">
      <dsp:nvSpPr>
        <dsp:cNvPr id="0" name=""/>
        <dsp:cNvSpPr/>
      </dsp:nvSpPr>
      <dsp:spPr>
        <a:xfrm>
          <a:off x="0" y="2832591"/>
          <a:ext cx="10880726" cy="75488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FCC273D-44CF-4C0A-BA70-B10789E5BDCD}">
      <dsp:nvSpPr>
        <dsp:cNvPr id="0" name=""/>
        <dsp:cNvSpPr/>
      </dsp:nvSpPr>
      <dsp:spPr>
        <a:xfrm>
          <a:off x="228352" y="3002440"/>
          <a:ext cx="415186" cy="41518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5E18E6A-2EAA-4A93-86E5-D7377E143AA6}">
      <dsp:nvSpPr>
        <dsp:cNvPr id="0" name=""/>
        <dsp:cNvSpPr/>
      </dsp:nvSpPr>
      <dsp:spPr>
        <a:xfrm>
          <a:off x="871892" y="2832591"/>
          <a:ext cx="10008833" cy="75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92" tIns="79892" rIns="79892" bIns="79892" numCol="1" spcCol="1270" anchor="ctr" anchorCtr="0">
          <a:noAutofit/>
        </a:bodyPr>
        <a:lstStyle/>
        <a:p>
          <a:pPr marL="0" lvl="0" indent="0" algn="l" defTabSz="844550">
            <a:lnSpc>
              <a:spcPct val="100000"/>
            </a:lnSpc>
            <a:spcBef>
              <a:spcPct val="0"/>
            </a:spcBef>
            <a:spcAft>
              <a:spcPct val="35000"/>
            </a:spcAft>
            <a:buNone/>
          </a:pPr>
          <a:r>
            <a:rPr lang="en-US" sz="1900" kern="1200" baseline="0"/>
            <a:t>Debugging In The ISE</a:t>
          </a:r>
          <a:endParaRPr lang="en-US" sz="1900" kern="1200"/>
        </a:p>
      </dsp:txBody>
      <dsp:txXfrm>
        <a:off x="871892" y="2832591"/>
        <a:ext cx="10008833" cy="754885"/>
      </dsp:txXfrm>
    </dsp:sp>
    <dsp:sp modelId="{5CB11BAC-E9FF-4F51-8520-6A6D9CA1F372}">
      <dsp:nvSpPr>
        <dsp:cNvPr id="0" name=""/>
        <dsp:cNvSpPr/>
      </dsp:nvSpPr>
      <dsp:spPr>
        <a:xfrm>
          <a:off x="0" y="3776197"/>
          <a:ext cx="10880726" cy="75488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4A40EAA-A9E7-441C-BB40-E88B6D09F376}">
      <dsp:nvSpPr>
        <dsp:cNvPr id="0" name=""/>
        <dsp:cNvSpPr/>
      </dsp:nvSpPr>
      <dsp:spPr>
        <a:xfrm>
          <a:off x="228352" y="3946046"/>
          <a:ext cx="415186" cy="415186"/>
        </a:xfrm>
        <a:prstGeom prst="rect">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FBC708E-2679-42CA-828F-C406BC08BC5D}">
      <dsp:nvSpPr>
        <dsp:cNvPr id="0" name=""/>
        <dsp:cNvSpPr/>
      </dsp:nvSpPr>
      <dsp:spPr>
        <a:xfrm>
          <a:off x="871892" y="3776197"/>
          <a:ext cx="10008833" cy="75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92" tIns="79892" rIns="79892" bIns="79892" numCol="1" spcCol="1270" anchor="ctr" anchorCtr="0">
          <a:noAutofit/>
        </a:bodyPr>
        <a:lstStyle/>
        <a:p>
          <a:pPr marL="0" lvl="0" indent="0" algn="l" defTabSz="844550">
            <a:lnSpc>
              <a:spcPct val="100000"/>
            </a:lnSpc>
            <a:spcBef>
              <a:spcPct val="0"/>
            </a:spcBef>
            <a:spcAft>
              <a:spcPct val="35000"/>
            </a:spcAft>
            <a:buNone/>
          </a:pPr>
          <a:r>
            <a:rPr lang="en-US" sz="1900" kern="1200" baseline="0"/>
            <a:t>Additional Debugging Cmdlets</a:t>
          </a:r>
          <a:endParaRPr lang="en-US" sz="1900" kern="1200"/>
        </a:p>
      </dsp:txBody>
      <dsp:txXfrm>
        <a:off x="871892" y="3776197"/>
        <a:ext cx="10008833" cy="754885"/>
      </dsp:txXfrm>
    </dsp:sp>
    <dsp:sp modelId="{9767A8CC-4E43-4C9A-ABB6-CF43FF42BBEA}">
      <dsp:nvSpPr>
        <dsp:cNvPr id="0" name=""/>
        <dsp:cNvSpPr/>
      </dsp:nvSpPr>
      <dsp:spPr>
        <a:xfrm>
          <a:off x="0" y="4719804"/>
          <a:ext cx="10880726" cy="75488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373B1F6-9CAD-4396-B6C1-81EC556177D2}">
      <dsp:nvSpPr>
        <dsp:cNvPr id="0" name=""/>
        <dsp:cNvSpPr/>
      </dsp:nvSpPr>
      <dsp:spPr>
        <a:xfrm>
          <a:off x="228352" y="4889653"/>
          <a:ext cx="415186" cy="415186"/>
        </a:xfrm>
        <a:prstGeom prst="rect">
          <a:avLst/>
        </a:prstGeom>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1795A8C-A5FC-4E8F-AF39-06424916CBDC}">
      <dsp:nvSpPr>
        <dsp:cNvPr id="0" name=""/>
        <dsp:cNvSpPr/>
      </dsp:nvSpPr>
      <dsp:spPr>
        <a:xfrm>
          <a:off x="871892" y="4719804"/>
          <a:ext cx="10008833" cy="754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892" tIns="79892" rIns="79892" bIns="79892" numCol="1" spcCol="1270" anchor="ctr" anchorCtr="0">
          <a:noAutofit/>
        </a:bodyPr>
        <a:lstStyle/>
        <a:p>
          <a:pPr marL="0" lvl="0" indent="0" algn="l" defTabSz="844550">
            <a:lnSpc>
              <a:spcPct val="100000"/>
            </a:lnSpc>
            <a:spcBef>
              <a:spcPct val="0"/>
            </a:spcBef>
            <a:spcAft>
              <a:spcPct val="35000"/>
            </a:spcAft>
            <a:buNone/>
          </a:pPr>
          <a:r>
            <a:rPr lang="en-US" sz="1900" kern="1200"/>
            <a:t>Debugging In </a:t>
          </a:r>
          <a:r>
            <a:rPr lang="en-US" sz="1900" kern="1200" err="1"/>
            <a:t>VSCode</a:t>
          </a:r>
          <a:r>
            <a:rPr lang="en-US" sz="1900" kern="1200"/>
            <a:t> Demo</a:t>
          </a:r>
        </a:p>
      </dsp:txBody>
      <dsp:txXfrm>
        <a:off x="871892" y="4719804"/>
        <a:ext cx="10008833" cy="75488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F82C5C-6354-4D74-812A-8E7B194DE780}">
      <dsp:nvSpPr>
        <dsp:cNvPr id="0" name=""/>
        <dsp:cNvSpPr/>
      </dsp:nvSpPr>
      <dsp:spPr>
        <a:xfrm>
          <a:off x="0" y="19690"/>
          <a:ext cx="11206679" cy="8985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Helps </a:t>
          </a:r>
          <a:r>
            <a:rPr lang="en-US" sz="2400" b="1" kern="1200"/>
            <a:t>determine</a:t>
          </a:r>
          <a:r>
            <a:rPr lang="en-US" sz="2400" kern="1200"/>
            <a:t> </a:t>
          </a:r>
          <a:r>
            <a:rPr lang="en-US" sz="2400" b="0" kern="1200"/>
            <a:t>where</a:t>
          </a:r>
          <a:r>
            <a:rPr lang="en-US" sz="2400" kern="1200"/>
            <a:t> </a:t>
          </a:r>
          <a:r>
            <a:rPr lang="en-US" sz="2400" b="1" kern="1200"/>
            <a:t>break points </a:t>
          </a:r>
          <a:r>
            <a:rPr lang="en-US" sz="2400" kern="1200"/>
            <a:t>are needed</a:t>
          </a:r>
        </a:p>
      </dsp:txBody>
      <dsp:txXfrm>
        <a:off x="43864" y="63554"/>
        <a:ext cx="11118951" cy="810832"/>
      </dsp:txXfrm>
    </dsp:sp>
    <dsp:sp modelId="{9D0C6FFC-271F-4BBD-B55C-54F6B07F776E}">
      <dsp:nvSpPr>
        <dsp:cNvPr id="0" name=""/>
        <dsp:cNvSpPr/>
      </dsp:nvSpPr>
      <dsp:spPr>
        <a:xfrm>
          <a:off x="0" y="918250"/>
          <a:ext cx="11206679" cy="819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812" tIns="27940" rIns="156464" bIns="27940" numCol="1" spcCol="1270" anchor="t" anchorCtr="0">
          <a:noAutofit/>
        </a:bodyPr>
        <a:lstStyle/>
        <a:p>
          <a:pPr marL="228600" lvl="1" indent="-228600" algn="l" defTabSz="977900">
            <a:lnSpc>
              <a:spcPct val="90000"/>
            </a:lnSpc>
            <a:spcBef>
              <a:spcPct val="0"/>
            </a:spcBef>
            <a:spcAft>
              <a:spcPct val="20000"/>
            </a:spcAft>
            <a:buChar char="•"/>
          </a:pPr>
          <a:r>
            <a:rPr lang="en-US" sz="2200" kern="1200"/>
            <a:t>Convenient to </a:t>
          </a:r>
          <a:r>
            <a:rPr lang="en-US" sz="2200" b="1" kern="1200"/>
            <a:t>track down </a:t>
          </a:r>
          <a:r>
            <a:rPr lang="en-US" sz="2200" kern="1200"/>
            <a:t>code causing a script to </a:t>
          </a:r>
          <a:r>
            <a:rPr lang="en-US" sz="2200" b="1" kern="1200"/>
            <a:t>hang</a:t>
          </a:r>
          <a:endParaRPr lang="en-US" sz="2200" kern="1200"/>
        </a:p>
        <a:p>
          <a:pPr marL="228600" lvl="1" indent="-228600" algn="l" defTabSz="977900">
            <a:lnSpc>
              <a:spcPct val="90000"/>
            </a:lnSpc>
            <a:spcBef>
              <a:spcPct val="0"/>
            </a:spcBef>
            <a:spcAft>
              <a:spcPct val="20000"/>
            </a:spcAft>
            <a:buChar char="•"/>
          </a:pPr>
          <a:r>
            <a:rPr lang="en-US" sz="2200" b="1" kern="1200"/>
            <a:t>Monitor</a:t>
          </a:r>
          <a:r>
            <a:rPr lang="en-US" sz="2200" kern="1200"/>
            <a:t> variable </a:t>
          </a:r>
          <a:r>
            <a:rPr lang="en-US" sz="2200" b="1" kern="1200"/>
            <a:t>values</a:t>
          </a:r>
          <a:r>
            <a:rPr lang="en-US" sz="2200" kern="1200"/>
            <a:t> without break points</a:t>
          </a:r>
        </a:p>
      </dsp:txBody>
      <dsp:txXfrm>
        <a:off x="0" y="918250"/>
        <a:ext cx="11206679" cy="819720"/>
      </dsp:txXfrm>
    </dsp:sp>
    <dsp:sp modelId="{D6947EA9-E51E-47E4-AEFA-66912EFA8FFE}">
      <dsp:nvSpPr>
        <dsp:cNvPr id="0" name=""/>
        <dsp:cNvSpPr/>
      </dsp:nvSpPr>
      <dsp:spPr>
        <a:xfrm>
          <a:off x="0" y="1737970"/>
          <a:ext cx="11206679" cy="8985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t>Write-Debug</a:t>
          </a:r>
        </a:p>
      </dsp:txBody>
      <dsp:txXfrm>
        <a:off x="43864" y="1781834"/>
        <a:ext cx="11118951" cy="810832"/>
      </dsp:txXfrm>
    </dsp:sp>
    <dsp:sp modelId="{D40AA95F-8932-439A-9812-B61259513FFE}">
      <dsp:nvSpPr>
        <dsp:cNvPr id="0" name=""/>
        <dsp:cNvSpPr/>
      </dsp:nvSpPr>
      <dsp:spPr>
        <a:xfrm>
          <a:off x="0" y="2636530"/>
          <a:ext cx="11206679" cy="819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812" tIns="27940" rIns="156464" bIns="27940" numCol="1" spcCol="1270" anchor="t" anchorCtr="0">
          <a:noAutofit/>
        </a:bodyPr>
        <a:lstStyle/>
        <a:p>
          <a:pPr marL="228600" lvl="1" indent="-228600" algn="l" defTabSz="977900">
            <a:lnSpc>
              <a:spcPct val="90000"/>
            </a:lnSpc>
            <a:spcBef>
              <a:spcPct val="0"/>
            </a:spcBef>
            <a:spcAft>
              <a:spcPct val="20000"/>
            </a:spcAft>
            <a:buChar char="•"/>
          </a:pPr>
          <a:r>
            <a:rPr lang="en-US" sz="2200" kern="1200"/>
            <a:t>Defaults to </a:t>
          </a:r>
          <a:r>
            <a:rPr lang="en-US" sz="2200" b="1" kern="1200"/>
            <a:t>inquire</a:t>
          </a:r>
          <a:r>
            <a:rPr lang="en-US" sz="2200" kern="1200"/>
            <a:t> (prompt) when using </a:t>
          </a:r>
          <a:r>
            <a:rPr lang="en-US" sz="2200" b="1" kern="1200"/>
            <a:t>–Debug</a:t>
          </a:r>
        </a:p>
        <a:p>
          <a:pPr marL="228600" lvl="1" indent="-228600" algn="l" defTabSz="977900">
            <a:lnSpc>
              <a:spcPct val="90000"/>
            </a:lnSpc>
            <a:spcBef>
              <a:spcPct val="0"/>
            </a:spcBef>
            <a:spcAft>
              <a:spcPct val="20000"/>
            </a:spcAft>
            <a:buChar char="•"/>
          </a:pPr>
          <a:r>
            <a:rPr lang="en-US" sz="2200" kern="1200"/>
            <a:t>Controlled with </a:t>
          </a:r>
          <a:r>
            <a:rPr lang="en-US" sz="2200" b="1" kern="1200"/>
            <a:t>$</a:t>
          </a:r>
          <a:r>
            <a:rPr lang="en-US" sz="2200" b="1" kern="1200" err="1"/>
            <a:t>DebugPreference</a:t>
          </a:r>
          <a:endParaRPr lang="en-US" sz="2200" b="1" kern="1200"/>
        </a:p>
      </dsp:txBody>
      <dsp:txXfrm>
        <a:off x="0" y="2636530"/>
        <a:ext cx="11206679" cy="819720"/>
      </dsp:txXfrm>
    </dsp:sp>
    <dsp:sp modelId="{DEA1F633-DE19-4A08-AF82-BCC170D7C6AE}">
      <dsp:nvSpPr>
        <dsp:cNvPr id="0" name=""/>
        <dsp:cNvSpPr/>
      </dsp:nvSpPr>
      <dsp:spPr>
        <a:xfrm>
          <a:off x="0" y="3456251"/>
          <a:ext cx="11206679" cy="8985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t>Write-Verbose</a:t>
          </a:r>
        </a:p>
      </dsp:txBody>
      <dsp:txXfrm>
        <a:off x="43864" y="3500115"/>
        <a:ext cx="11118951" cy="810832"/>
      </dsp:txXfrm>
    </dsp:sp>
    <dsp:sp modelId="{4C8EBE39-F1A5-4DD3-B58B-6B494DC28AFF}">
      <dsp:nvSpPr>
        <dsp:cNvPr id="0" name=""/>
        <dsp:cNvSpPr/>
      </dsp:nvSpPr>
      <dsp:spPr>
        <a:xfrm>
          <a:off x="0" y="4354811"/>
          <a:ext cx="11206679" cy="1217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812" tIns="27940" rIns="156464" bIns="27940" numCol="1" spcCol="1270" anchor="t" anchorCtr="0">
          <a:noAutofit/>
        </a:bodyPr>
        <a:lstStyle/>
        <a:p>
          <a:pPr marL="228600" lvl="1" indent="-228600" algn="l" defTabSz="977900">
            <a:lnSpc>
              <a:spcPct val="90000"/>
            </a:lnSpc>
            <a:spcBef>
              <a:spcPct val="0"/>
            </a:spcBef>
            <a:spcAft>
              <a:spcPct val="20000"/>
            </a:spcAft>
            <a:buFont typeface="Arial" panose="020B0604020202020204" pitchFamily="34" charset="0"/>
            <a:buChar char="•"/>
          </a:pPr>
          <a:r>
            <a:rPr lang="en-US" sz="2200" kern="1200"/>
            <a:t>Defaults to </a:t>
          </a:r>
          <a:r>
            <a:rPr lang="en-US" sz="2200" b="1" kern="1200"/>
            <a:t>continue</a:t>
          </a:r>
          <a:r>
            <a:rPr lang="en-US" sz="2200" kern="1200"/>
            <a:t> (display) when using </a:t>
          </a:r>
          <a:r>
            <a:rPr lang="en-US" sz="2200" b="1" kern="1200"/>
            <a:t>–Verbose</a:t>
          </a:r>
        </a:p>
        <a:p>
          <a:pPr marL="228600" lvl="1" indent="-228600" algn="l" defTabSz="977900">
            <a:lnSpc>
              <a:spcPct val="90000"/>
            </a:lnSpc>
            <a:spcBef>
              <a:spcPct val="0"/>
            </a:spcBef>
            <a:spcAft>
              <a:spcPct val="20000"/>
            </a:spcAft>
            <a:buFont typeface="Arial" panose="020B0604020202020204" pitchFamily="34" charset="0"/>
            <a:buChar char="•"/>
          </a:pPr>
          <a:r>
            <a:rPr lang="en-US" sz="2200" kern="1200"/>
            <a:t>Controlled with </a:t>
          </a:r>
          <a:r>
            <a:rPr lang="en-US" sz="2200" b="1" kern="1200"/>
            <a:t>$</a:t>
          </a:r>
          <a:r>
            <a:rPr lang="en-US" sz="2200" b="1" kern="1200" err="1"/>
            <a:t>VerbosePreference</a:t>
          </a:r>
          <a:endParaRPr lang="en-US" sz="2200" b="1" kern="1200"/>
        </a:p>
        <a:p>
          <a:pPr marL="228600" lvl="1" indent="-228600" algn="l" defTabSz="977900">
            <a:lnSpc>
              <a:spcPct val="90000"/>
            </a:lnSpc>
            <a:spcBef>
              <a:spcPct val="0"/>
            </a:spcBef>
            <a:spcAft>
              <a:spcPct val="20000"/>
            </a:spcAft>
            <a:buFont typeface="Arial" panose="020B0604020202020204" pitchFamily="34" charset="0"/>
            <a:buChar char="•"/>
          </a:pPr>
          <a:r>
            <a:rPr lang="en-US" sz="2200" kern="1200"/>
            <a:t>Information being written can usually double as </a:t>
          </a:r>
          <a:r>
            <a:rPr lang="en-US" sz="2200" b="1" kern="1200"/>
            <a:t>verbose logging </a:t>
          </a:r>
          <a:r>
            <a:rPr lang="en-US" sz="2200" kern="1200"/>
            <a:t>when done</a:t>
          </a:r>
        </a:p>
      </dsp:txBody>
      <dsp:txXfrm>
        <a:off x="0" y="4354811"/>
        <a:ext cx="11206679" cy="121716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B15592-74D6-4027-B239-62203FA57A0D}">
      <dsp:nvSpPr>
        <dsp:cNvPr id="0" name=""/>
        <dsp:cNvSpPr/>
      </dsp:nvSpPr>
      <dsp:spPr>
        <a:xfrm>
          <a:off x="0" y="0"/>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EF0DE8-79D9-452E-9004-871112C07CC3}">
      <dsp:nvSpPr>
        <dsp:cNvPr id="0" name=""/>
        <dsp:cNvSpPr/>
      </dsp:nvSpPr>
      <dsp:spPr>
        <a:xfrm>
          <a:off x="0" y="0"/>
          <a:ext cx="10972800" cy="5486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1" kern="1200"/>
            <a:t>Detect</a:t>
          </a:r>
          <a:r>
            <a:rPr lang="en-US" sz="2800" kern="1200"/>
            <a:t> if the debugger is </a:t>
          </a:r>
          <a:r>
            <a:rPr lang="en-US" sz="2800" b="1" kern="1200"/>
            <a:t>active</a:t>
          </a:r>
          <a:r>
            <a:rPr lang="en-US" sz="2800" kern="1200"/>
            <a:t> for debug specific output/actions</a:t>
          </a:r>
        </a:p>
      </dsp:txBody>
      <dsp:txXfrm>
        <a:off x="0" y="0"/>
        <a:ext cx="10972800" cy="548639"/>
      </dsp:txXfrm>
    </dsp:sp>
    <dsp:sp modelId="{A3D36C2F-B64B-4521-BAAC-78760DC560E4}">
      <dsp:nvSpPr>
        <dsp:cNvPr id="0" name=""/>
        <dsp:cNvSpPr/>
      </dsp:nvSpPr>
      <dsp:spPr>
        <a:xfrm>
          <a:off x="0" y="548639"/>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414A46-D927-4B15-90DF-8DF99E1DE01B}">
      <dsp:nvSpPr>
        <dsp:cNvPr id="0" name=""/>
        <dsp:cNvSpPr/>
      </dsp:nvSpPr>
      <dsp:spPr>
        <a:xfrm>
          <a:off x="0" y="548639"/>
          <a:ext cx="10972800" cy="5486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Investigate the </a:t>
          </a:r>
          <a:r>
            <a:rPr lang="en-US" sz="2800" b="1" kern="1200" err="1"/>
            <a:t>InvocationInfo</a:t>
          </a:r>
          <a:r>
            <a:rPr lang="en-US" sz="2800" b="0" kern="1200"/>
            <a:t> property</a:t>
          </a:r>
          <a:endParaRPr lang="en-US" sz="2800" b="1" kern="1200"/>
        </a:p>
      </dsp:txBody>
      <dsp:txXfrm>
        <a:off x="0" y="548639"/>
        <a:ext cx="10972800" cy="54863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85B215-D250-4773-8573-ABB7826818E3}">
      <dsp:nvSpPr>
        <dsp:cNvPr id="0" name=""/>
        <dsp:cNvSpPr/>
      </dsp:nvSpPr>
      <dsp:spPr>
        <a:xfrm>
          <a:off x="471830" y="43891"/>
          <a:ext cx="1799539" cy="1799539"/>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AF26F12B-9260-4F0B-9C18-03660D37D715}">
      <dsp:nvSpPr>
        <dsp:cNvPr id="0" name=""/>
        <dsp:cNvSpPr/>
      </dsp:nvSpPr>
      <dsp:spPr>
        <a:xfrm>
          <a:off x="1371600" y="43891"/>
          <a:ext cx="9601200" cy="1799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2550" rIns="0" bIns="82550" numCol="1" spcCol="1270" anchor="ctr" anchorCtr="0">
          <a:noAutofit/>
        </a:bodyPr>
        <a:lstStyle/>
        <a:p>
          <a:pPr marL="0" lvl="0" indent="0" algn="l" defTabSz="2889250">
            <a:lnSpc>
              <a:spcPct val="90000"/>
            </a:lnSpc>
            <a:spcBef>
              <a:spcPct val="0"/>
            </a:spcBef>
            <a:spcAft>
              <a:spcPct val="35000"/>
            </a:spcAft>
            <a:buNone/>
          </a:pPr>
          <a:r>
            <a:rPr lang="en-US" sz="6500" kern="1200"/>
            <a:t>Set-</a:t>
          </a:r>
          <a:r>
            <a:rPr lang="en-US" sz="6500" kern="1200" err="1"/>
            <a:t>StrictMode</a:t>
          </a:r>
          <a:endParaRPr lang="en-US" sz="6500" kern="1200"/>
        </a:p>
      </dsp:txBody>
      <dsp:txXfrm>
        <a:off x="1371600" y="43891"/>
        <a:ext cx="9601200" cy="1799539"/>
      </dsp:txXfrm>
    </dsp:sp>
    <dsp:sp modelId="{BDCA2596-8C3F-4EB4-941B-76B014722D34}">
      <dsp:nvSpPr>
        <dsp:cNvPr id="0" name=""/>
        <dsp:cNvSpPr/>
      </dsp:nvSpPr>
      <dsp:spPr>
        <a:xfrm>
          <a:off x="471830" y="1843430"/>
          <a:ext cx="1799539" cy="1799539"/>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142740DC-8D24-4E23-8CBD-93C36EAFB6F3}">
      <dsp:nvSpPr>
        <dsp:cNvPr id="0" name=""/>
        <dsp:cNvSpPr/>
      </dsp:nvSpPr>
      <dsp:spPr>
        <a:xfrm>
          <a:off x="1371600" y="1843430"/>
          <a:ext cx="9601200" cy="1799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2550" rIns="0" bIns="82550" numCol="1" spcCol="1270" anchor="ctr" anchorCtr="0">
          <a:noAutofit/>
        </a:bodyPr>
        <a:lstStyle/>
        <a:p>
          <a:pPr marL="0" lvl="0" indent="0" algn="l" defTabSz="2889250">
            <a:lnSpc>
              <a:spcPct val="90000"/>
            </a:lnSpc>
            <a:spcBef>
              <a:spcPct val="0"/>
            </a:spcBef>
            <a:spcAft>
              <a:spcPct val="35000"/>
            </a:spcAft>
            <a:buNone/>
          </a:pPr>
          <a:r>
            <a:rPr lang="en-US" sz="6500" kern="1200"/>
            <a:t>Trace-Command</a:t>
          </a:r>
        </a:p>
      </dsp:txBody>
      <dsp:txXfrm>
        <a:off x="1371600" y="1843430"/>
        <a:ext cx="9601200" cy="1799539"/>
      </dsp:txXfrm>
    </dsp:sp>
    <dsp:sp modelId="{0B9E10D1-2D9B-4188-B6C5-9B771544C1B4}">
      <dsp:nvSpPr>
        <dsp:cNvPr id="0" name=""/>
        <dsp:cNvSpPr/>
      </dsp:nvSpPr>
      <dsp:spPr>
        <a:xfrm>
          <a:off x="471830" y="3642969"/>
          <a:ext cx="1799539" cy="1799539"/>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DCA24B91-C293-4A26-A06A-04D5EE98F09B}">
      <dsp:nvSpPr>
        <dsp:cNvPr id="0" name=""/>
        <dsp:cNvSpPr/>
      </dsp:nvSpPr>
      <dsp:spPr>
        <a:xfrm>
          <a:off x="1371600" y="3642969"/>
          <a:ext cx="9601200" cy="1799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2550" rIns="0" bIns="82550" numCol="1" spcCol="1270" anchor="ctr" anchorCtr="0">
          <a:noAutofit/>
        </a:bodyPr>
        <a:lstStyle/>
        <a:p>
          <a:pPr marL="0" lvl="0" indent="0" algn="l" defTabSz="2889250">
            <a:lnSpc>
              <a:spcPct val="90000"/>
            </a:lnSpc>
            <a:spcBef>
              <a:spcPct val="0"/>
            </a:spcBef>
            <a:spcAft>
              <a:spcPct val="35000"/>
            </a:spcAft>
            <a:buNone/>
          </a:pPr>
          <a:r>
            <a:rPr lang="en-US" sz="6500" kern="1200"/>
            <a:t>Set-</a:t>
          </a:r>
          <a:r>
            <a:rPr lang="en-US" sz="6500" kern="1200" err="1"/>
            <a:t>PSDebug</a:t>
          </a:r>
          <a:endParaRPr lang="en-US" sz="6500" kern="1200"/>
        </a:p>
      </dsp:txBody>
      <dsp:txXfrm>
        <a:off x="1371600" y="3642969"/>
        <a:ext cx="9601200" cy="179953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DF841A-6AD9-45BB-8A1D-5576C776A68E}">
      <dsp:nvSpPr>
        <dsp:cNvPr id="0" name=""/>
        <dsp:cNvSpPr/>
      </dsp:nvSpPr>
      <dsp:spPr>
        <a:xfrm>
          <a:off x="0" y="10630"/>
          <a:ext cx="10972800" cy="7979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a:t>Generate </a:t>
          </a:r>
          <a:r>
            <a:rPr lang="en-US" sz="3100" b="0" kern="1200"/>
            <a:t>terminating</a:t>
          </a:r>
          <a:r>
            <a:rPr lang="en-US" sz="3100" kern="1200"/>
            <a:t> </a:t>
          </a:r>
          <a:r>
            <a:rPr lang="en-US" sz="3100" b="0" kern="1200"/>
            <a:t>errors</a:t>
          </a:r>
          <a:r>
            <a:rPr lang="en-US" sz="3100" kern="1200"/>
            <a:t> based on best practices</a:t>
          </a:r>
        </a:p>
      </dsp:txBody>
      <dsp:txXfrm>
        <a:off x="38952" y="49582"/>
        <a:ext cx="10894896" cy="720036"/>
      </dsp:txXfrm>
    </dsp:sp>
    <dsp:sp modelId="{75AF41F5-BF27-4D07-B57C-1C0EE443B773}">
      <dsp:nvSpPr>
        <dsp:cNvPr id="0" name=""/>
        <dsp:cNvSpPr/>
      </dsp:nvSpPr>
      <dsp:spPr>
        <a:xfrm>
          <a:off x="0" y="808570"/>
          <a:ext cx="10972800" cy="513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a:t>Identify </a:t>
          </a:r>
          <a:r>
            <a:rPr lang="en-US" sz="2400" b="1" kern="1200"/>
            <a:t>typos</a:t>
          </a:r>
          <a:r>
            <a:rPr lang="en-US" sz="2400" kern="1200"/>
            <a:t> for variables or properties</a:t>
          </a:r>
        </a:p>
      </dsp:txBody>
      <dsp:txXfrm>
        <a:off x="0" y="808570"/>
        <a:ext cx="10972800" cy="513360"/>
      </dsp:txXfrm>
    </dsp:sp>
    <dsp:sp modelId="{7486430C-E9A8-42BE-A9DE-B31915D15D33}">
      <dsp:nvSpPr>
        <dsp:cNvPr id="0" name=""/>
        <dsp:cNvSpPr/>
      </dsp:nvSpPr>
      <dsp:spPr>
        <a:xfrm>
          <a:off x="0" y="1321930"/>
          <a:ext cx="10972800" cy="797940"/>
        </a:xfrm>
        <a:prstGeom prst="roundRect">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0" kern="1200"/>
            <a:t>Version 1+</a:t>
          </a:r>
        </a:p>
      </dsp:txBody>
      <dsp:txXfrm>
        <a:off x="38952" y="1360882"/>
        <a:ext cx="10894896" cy="720036"/>
      </dsp:txXfrm>
    </dsp:sp>
    <dsp:sp modelId="{77A434E4-A62A-4CE4-819A-510A3B1462F4}">
      <dsp:nvSpPr>
        <dsp:cNvPr id="0" name=""/>
        <dsp:cNvSpPr/>
      </dsp:nvSpPr>
      <dsp:spPr>
        <a:xfrm>
          <a:off x="0" y="2119870"/>
          <a:ext cx="10972800" cy="513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a:t>References to </a:t>
          </a:r>
          <a:r>
            <a:rPr lang="en-US" sz="2400" b="1" kern="1200"/>
            <a:t>uninitialized variables</a:t>
          </a:r>
          <a:endParaRPr lang="en-US" sz="2400" kern="1200"/>
        </a:p>
      </dsp:txBody>
      <dsp:txXfrm>
        <a:off x="0" y="2119870"/>
        <a:ext cx="10972800" cy="513360"/>
      </dsp:txXfrm>
    </dsp:sp>
    <dsp:sp modelId="{48A8230C-0444-4A18-9D8F-EC196D056E33}">
      <dsp:nvSpPr>
        <dsp:cNvPr id="0" name=""/>
        <dsp:cNvSpPr/>
      </dsp:nvSpPr>
      <dsp:spPr>
        <a:xfrm>
          <a:off x="0" y="2633230"/>
          <a:ext cx="10972800" cy="797940"/>
        </a:xfrm>
        <a:prstGeom prst="roundRect">
          <a:avLst/>
        </a:prstGeom>
        <a:solidFill>
          <a:schemeClr val="accent4">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0" kern="1200"/>
            <a:t>Version 2+</a:t>
          </a:r>
        </a:p>
      </dsp:txBody>
      <dsp:txXfrm>
        <a:off x="38952" y="2672182"/>
        <a:ext cx="10894896" cy="720036"/>
      </dsp:txXfrm>
    </dsp:sp>
    <dsp:sp modelId="{6FF2C1E3-1EEE-42C9-9EDB-C9A8823306F1}">
      <dsp:nvSpPr>
        <dsp:cNvPr id="0" name=""/>
        <dsp:cNvSpPr/>
      </dsp:nvSpPr>
      <dsp:spPr>
        <a:xfrm>
          <a:off x="0" y="3431170"/>
          <a:ext cx="10972800" cy="898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a:t>References to </a:t>
          </a:r>
          <a:r>
            <a:rPr lang="en-US" sz="2400" b="1" kern="1200"/>
            <a:t>non-existent properties </a:t>
          </a:r>
          <a:r>
            <a:rPr lang="en-US" sz="2400" kern="1200"/>
            <a:t>of an object.</a:t>
          </a:r>
        </a:p>
        <a:p>
          <a:pPr marL="228600" lvl="1" indent="-228600" algn="l" defTabSz="1066800">
            <a:lnSpc>
              <a:spcPct val="90000"/>
            </a:lnSpc>
            <a:spcBef>
              <a:spcPct val="0"/>
            </a:spcBef>
            <a:spcAft>
              <a:spcPct val="20000"/>
            </a:spcAft>
            <a:buChar char="•"/>
          </a:pPr>
          <a:r>
            <a:rPr lang="en-US" sz="2400" b="1" kern="1200"/>
            <a:t>Function</a:t>
          </a:r>
          <a:r>
            <a:rPr lang="en-US" sz="2400" kern="1200"/>
            <a:t> calls that use the </a:t>
          </a:r>
          <a:r>
            <a:rPr lang="en-US" sz="2400" b="1" kern="1200"/>
            <a:t>syntax</a:t>
          </a:r>
          <a:r>
            <a:rPr lang="en-US" sz="2400" kern="1200"/>
            <a:t> for calling methods.</a:t>
          </a:r>
        </a:p>
      </dsp:txBody>
      <dsp:txXfrm>
        <a:off x="0" y="3431170"/>
        <a:ext cx="10972800" cy="898380"/>
      </dsp:txXfrm>
    </dsp:sp>
    <dsp:sp modelId="{142EBCDA-F311-4631-8046-02FAB8D730C5}">
      <dsp:nvSpPr>
        <dsp:cNvPr id="0" name=""/>
        <dsp:cNvSpPr/>
      </dsp:nvSpPr>
      <dsp:spPr>
        <a:xfrm>
          <a:off x="0" y="4329550"/>
          <a:ext cx="10972800" cy="797940"/>
        </a:xfrm>
        <a:prstGeom prst="round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0" kern="1200"/>
            <a:t>Version 3 &amp; Latest</a:t>
          </a:r>
        </a:p>
      </dsp:txBody>
      <dsp:txXfrm>
        <a:off x="38952" y="4368502"/>
        <a:ext cx="10894896" cy="720036"/>
      </dsp:txXfrm>
    </dsp:sp>
    <dsp:sp modelId="{CB6F2E14-EA0F-4A49-A5D0-B254E034FEB8}">
      <dsp:nvSpPr>
        <dsp:cNvPr id="0" name=""/>
        <dsp:cNvSpPr/>
      </dsp:nvSpPr>
      <dsp:spPr>
        <a:xfrm>
          <a:off x="0" y="5127490"/>
          <a:ext cx="10972800" cy="513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kern="1200"/>
            <a:t>Access </a:t>
          </a:r>
          <a:r>
            <a:rPr lang="en-US" sz="2400" b="0" kern="1200"/>
            <a:t>out of bounds </a:t>
          </a:r>
          <a:r>
            <a:rPr lang="en-US" sz="2400" b="1" kern="1200"/>
            <a:t>array indexes</a:t>
          </a:r>
          <a:endParaRPr lang="en-US" sz="2400" kern="1200"/>
        </a:p>
      </dsp:txBody>
      <dsp:txXfrm>
        <a:off x="0" y="5127490"/>
        <a:ext cx="10972800" cy="51336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6536BC-FCAB-4D8E-8B49-16D755FEDEFD}">
      <dsp:nvSpPr>
        <dsp:cNvPr id="0" name=""/>
        <dsp:cNvSpPr/>
      </dsp:nvSpPr>
      <dsp:spPr>
        <a:xfrm>
          <a:off x="0" y="372374"/>
          <a:ext cx="10972800" cy="1228500"/>
        </a:xfrm>
        <a:prstGeom prst="rect">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1611" tIns="416560" rIns="851611"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err="1"/>
            <a:t>ParameterBinding</a:t>
          </a:r>
          <a:endParaRPr lang="en-US" sz="2000" kern="1200"/>
        </a:p>
        <a:p>
          <a:pPr marL="228600" lvl="1" indent="-228600" algn="l" defTabSz="889000">
            <a:lnSpc>
              <a:spcPct val="90000"/>
            </a:lnSpc>
            <a:spcBef>
              <a:spcPct val="0"/>
            </a:spcBef>
            <a:spcAft>
              <a:spcPct val="15000"/>
            </a:spcAft>
            <a:buChar char="•"/>
          </a:pPr>
          <a:r>
            <a:rPr lang="en-US" sz="2000" kern="1200" err="1"/>
            <a:t>TypeConversion</a:t>
          </a:r>
          <a:endParaRPr lang="en-US" sz="2000" kern="1200"/>
        </a:p>
      </dsp:txBody>
      <dsp:txXfrm>
        <a:off x="0" y="372374"/>
        <a:ext cx="10972800" cy="1228500"/>
      </dsp:txXfrm>
    </dsp:sp>
    <dsp:sp modelId="{2591CFA7-F5F6-44D0-BB57-B44EE40ED3F1}">
      <dsp:nvSpPr>
        <dsp:cNvPr id="0" name=""/>
        <dsp:cNvSpPr/>
      </dsp:nvSpPr>
      <dsp:spPr>
        <a:xfrm>
          <a:off x="548640" y="77174"/>
          <a:ext cx="7680960" cy="590400"/>
        </a:xfrm>
        <a:prstGeom prst="roundRect">
          <a:avLst/>
        </a:prstGeom>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6350" cap="flat" cmpd="sng" algn="ctr">
          <a:solidFill>
            <a:schemeClr val="accent1"/>
          </a:solidFill>
          <a:prstDash val="solid"/>
          <a:miter lim="800000"/>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290322" tIns="0" rIns="290322" bIns="0" numCol="1" spcCol="1270" anchor="ctr" anchorCtr="0">
          <a:noAutofit/>
        </a:bodyPr>
        <a:lstStyle/>
        <a:p>
          <a:pPr marL="0" lvl="0" indent="0" algn="l" defTabSz="1066800">
            <a:lnSpc>
              <a:spcPct val="90000"/>
            </a:lnSpc>
            <a:spcBef>
              <a:spcPct val="0"/>
            </a:spcBef>
            <a:spcAft>
              <a:spcPct val="35000"/>
            </a:spcAft>
            <a:buNone/>
          </a:pPr>
          <a:r>
            <a:rPr lang="en-US" sz="2400" kern="1200"/>
            <a:t>Debug information for PowerShell </a:t>
          </a:r>
          <a:r>
            <a:rPr lang="en-US" sz="2400" b="1" kern="1200"/>
            <a:t>Components</a:t>
          </a:r>
          <a:r>
            <a:rPr lang="en-US" sz="2400" kern="1200"/>
            <a:t> </a:t>
          </a:r>
        </a:p>
      </dsp:txBody>
      <dsp:txXfrm>
        <a:off x="577461" y="105995"/>
        <a:ext cx="7623318" cy="532758"/>
      </dsp:txXfrm>
    </dsp:sp>
    <dsp:sp modelId="{29A68813-F807-448E-A3ED-FABBAE864371}">
      <dsp:nvSpPr>
        <dsp:cNvPr id="0" name=""/>
        <dsp:cNvSpPr/>
      </dsp:nvSpPr>
      <dsp:spPr>
        <a:xfrm>
          <a:off x="0" y="2004075"/>
          <a:ext cx="10972800" cy="866250"/>
        </a:xfrm>
        <a:prstGeom prst="rect">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1611" tIns="416560" rIns="851611"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t>List available components to trace</a:t>
          </a:r>
        </a:p>
      </dsp:txBody>
      <dsp:txXfrm>
        <a:off x="0" y="2004075"/>
        <a:ext cx="10972800" cy="866250"/>
      </dsp:txXfrm>
    </dsp:sp>
    <dsp:sp modelId="{9D2980C8-E590-4E62-8A4F-F96F8D16F795}">
      <dsp:nvSpPr>
        <dsp:cNvPr id="0" name=""/>
        <dsp:cNvSpPr/>
      </dsp:nvSpPr>
      <dsp:spPr>
        <a:xfrm>
          <a:off x="548640" y="1708875"/>
          <a:ext cx="7680960" cy="590400"/>
        </a:xfrm>
        <a:prstGeom prst="roundRect">
          <a:avLst/>
        </a:prstGeom>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6350" cap="flat" cmpd="sng" algn="ctr">
          <a:solidFill>
            <a:schemeClr val="accent1"/>
          </a:solidFill>
          <a:prstDash val="solid"/>
          <a:miter lim="800000"/>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290322" tIns="0" rIns="290322" bIns="0" numCol="1" spcCol="1270" anchor="ctr" anchorCtr="0">
          <a:noAutofit/>
        </a:bodyPr>
        <a:lstStyle/>
        <a:p>
          <a:pPr marL="0" lvl="0" indent="0" algn="l" defTabSz="1066800">
            <a:lnSpc>
              <a:spcPct val="90000"/>
            </a:lnSpc>
            <a:spcBef>
              <a:spcPct val="0"/>
            </a:spcBef>
            <a:spcAft>
              <a:spcPct val="35000"/>
            </a:spcAft>
            <a:buNone/>
          </a:pPr>
          <a:r>
            <a:rPr lang="en-US" sz="2400" b="1" kern="1200"/>
            <a:t>Get-</a:t>
          </a:r>
          <a:r>
            <a:rPr lang="en-US" sz="2400" b="1" kern="1200" err="1"/>
            <a:t>TraceSource</a:t>
          </a:r>
          <a:endParaRPr lang="en-US" sz="2400" b="1" kern="1200"/>
        </a:p>
      </dsp:txBody>
      <dsp:txXfrm>
        <a:off x="577461" y="1737696"/>
        <a:ext cx="7623318" cy="532758"/>
      </dsp:txXfrm>
    </dsp:sp>
    <dsp:sp modelId="{A6469773-2DAD-4CE2-BB5E-BF6D7F673CC6}">
      <dsp:nvSpPr>
        <dsp:cNvPr id="0" name=""/>
        <dsp:cNvSpPr/>
      </dsp:nvSpPr>
      <dsp:spPr>
        <a:xfrm>
          <a:off x="0" y="3273525"/>
          <a:ext cx="10972800" cy="866250"/>
        </a:xfrm>
        <a:prstGeom prst="rect">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1611" tIns="416560" rIns="851611"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t>Assign a trace to the global scope</a:t>
          </a:r>
        </a:p>
      </dsp:txBody>
      <dsp:txXfrm>
        <a:off x="0" y="3273525"/>
        <a:ext cx="10972800" cy="866250"/>
      </dsp:txXfrm>
    </dsp:sp>
    <dsp:sp modelId="{4A8E553D-40FB-4561-A6F6-7190C42986FE}">
      <dsp:nvSpPr>
        <dsp:cNvPr id="0" name=""/>
        <dsp:cNvSpPr/>
      </dsp:nvSpPr>
      <dsp:spPr>
        <a:xfrm>
          <a:off x="548640" y="2978325"/>
          <a:ext cx="7680960" cy="590400"/>
        </a:xfrm>
        <a:prstGeom prst="roundRect">
          <a:avLst/>
        </a:prstGeom>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6350" cap="flat" cmpd="sng" algn="ctr">
          <a:solidFill>
            <a:schemeClr val="accent1"/>
          </a:solidFill>
          <a:prstDash val="solid"/>
          <a:miter lim="800000"/>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290322" tIns="0" rIns="290322" bIns="0" numCol="1" spcCol="1270" anchor="ctr" anchorCtr="0">
          <a:noAutofit/>
        </a:bodyPr>
        <a:lstStyle/>
        <a:p>
          <a:pPr marL="0" lvl="0" indent="0" algn="l" defTabSz="1066800">
            <a:lnSpc>
              <a:spcPct val="90000"/>
            </a:lnSpc>
            <a:spcBef>
              <a:spcPct val="0"/>
            </a:spcBef>
            <a:spcAft>
              <a:spcPct val="35000"/>
            </a:spcAft>
            <a:buNone/>
          </a:pPr>
          <a:r>
            <a:rPr lang="en-US" sz="2400" b="1" kern="1200"/>
            <a:t>Set-</a:t>
          </a:r>
          <a:r>
            <a:rPr lang="en-US" sz="2400" b="1" kern="1200" err="1"/>
            <a:t>TraceSource</a:t>
          </a:r>
          <a:endParaRPr lang="en-US" sz="2400" b="1" kern="1200"/>
        </a:p>
      </dsp:txBody>
      <dsp:txXfrm>
        <a:off x="577461" y="3007146"/>
        <a:ext cx="7623318" cy="532758"/>
      </dsp:txXfrm>
    </dsp:sp>
    <dsp:sp modelId="{ECEC1666-2BF8-475E-B7E3-015F8D9F1D52}">
      <dsp:nvSpPr>
        <dsp:cNvPr id="0" name=""/>
        <dsp:cNvSpPr/>
      </dsp:nvSpPr>
      <dsp:spPr>
        <a:xfrm>
          <a:off x="0" y="4542975"/>
          <a:ext cx="10972800" cy="866250"/>
        </a:xfrm>
        <a:prstGeom prst="rect">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1611" tIns="416560" rIns="851611"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t>Trace a specific script block</a:t>
          </a:r>
        </a:p>
      </dsp:txBody>
      <dsp:txXfrm>
        <a:off x="0" y="4542975"/>
        <a:ext cx="10972800" cy="866250"/>
      </dsp:txXfrm>
    </dsp:sp>
    <dsp:sp modelId="{37B4E258-4F21-406E-BB26-2AC587D7E4D6}">
      <dsp:nvSpPr>
        <dsp:cNvPr id="0" name=""/>
        <dsp:cNvSpPr/>
      </dsp:nvSpPr>
      <dsp:spPr>
        <a:xfrm>
          <a:off x="548640" y="4247775"/>
          <a:ext cx="7680960" cy="590400"/>
        </a:xfrm>
        <a:prstGeom prst="roundRect">
          <a:avLst/>
        </a:prstGeom>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6350" cap="flat" cmpd="sng" algn="ctr">
          <a:solidFill>
            <a:schemeClr val="accent1"/>
          </a:solidFill>
          <a:prstDash val="solid"/>
          <a:miter lim="800000"/>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290322" tIns="0" rIns="290322" bIns="0" numCol="1" spcCol="1270" anchor="ctr" anchorCtr="0">
          <a:noAutofit/>
        </a:bodyPr>
        <a:lstStyle/>
        <a:p>
          <a:pPr marL="0" lvl="0" indent="0" algn="l" defTabSz="1066800">
            <a:lnSpc>
              <a:spcPct val="90000"/>
            </a:lnSpc>
            <a:spcBef>
              <a:spcPct val="0"/>
            </a:spcBef>
            <a:spcAft>
              <a:spcPct val="35000"/>
            </a:spcAft>
            <a:buNone/>
          </a:pPr>
          <a:r>
            <a:rPr lang="en-US" sz="2400" b="1" kern="1200"/>
            <a:t>Trace-Command</a:t>
          </a:r>
        </a:p>
      </dsp:txBody>
      <dsp:txXfrm>
        <a:off x="577461" y="4276596"/>
        <a:ext cx="7623318" cy="53275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16F9B1-9ADA-4525-999E-3913B29DD68E}">
      <dsp:nvSpPr>
        <dsp:cNvPr id="0" name=""/>
        <dsp:cNvSpPr/>
      </dsp:nvSpPr>
      <dsp:spPr>
        <a:xfrm>
          <a:off x="0" y="0"/>
          <a:ext cx="109728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D3BA8B-36E6-438C-B01F-C9AD64D87295}">
      <dsp:nvSpPr>
        <dsp:cNvPr id="0" name=""/>
        <dsp:cNvSpPr/>
      </dsp:nvSpPr>
      <dsp:spPr>
        <a:xfrm>
          <a:off x="0" y="0"/>
          <a:ext cx="10972800" cy="6857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b="0" i="0" kern="1200"/>
            <a:t>Turns script debugging features on and off</a:t>
          </a:r>
          <a:endParaRPr lang="en-US" sz="3000" kern="1200"/>
        </a:p>
      </dsp:txBody>
      <dsp:txXfrm>
        <a:off x="0" y="0"/>
        <a:ext cx="10972800" cy="685799"/>
      </dsp:txXfrm>
    </dsp:sp>
    <dsp:sp modelId="{175F25EB-9DCF-43EB-896C-B71289B2D596}">
      <dsp:nvSpPr>
        <dsp:cNvPr id="0" name=""/>
        <dsp:cNvSpPr/>
      </dsp:nvSpPr>
      <dsp:spPr>
        <a:xfrm>
          <a:off x="0" y="685799"/>
          <a:ext cx="10972800"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D660AE-25C0-48E9-A95E-57A7C086E6C7}">
      <dsp:nvSpPr>
        <dsp:cNvPr id="0" name=""/>
        <dsp:cNvSpPr/>
      </dsp:nvSpPr>
      <dsp:spPr>
        <a:xfrm>
          <a:off x="0" y="685799"/>
          <a:ext cx="10972800" cy="6857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b="0" i="0" kern="1200"/>
            <a:t>Sets the </a:t>
          </a:r>
          <a:r>
            <a:rPr lang="en-US" sz="3000" b="1" i="0" kern="1200"/>
            <a:t>trace level</a:t>
          </a:r>
          <a:endParaRPr lang="en-US" sz="3000" b="1" kern="1200"/>
        </a:p>
      </dsp:txBody>
      <dsp:txXfrm>
        <a:off x="0" y="685799"/>
        <a:ext cx="10972800" cy="685799"/>
      </dsp:txXfrm>
    </dsp:sp>
    <dsp:sp modelId="{8120E784-0D17-4284-8FEE-175D05773179}">
      <dsp:nvSpPr>
        <dsp:cNvPr id="0" name=""/>
        <dsp:cNvSpPr/>
      </dsp:nvSpPr>
      <dsp:spPr>
        <a:xfrm>
          <a:off x="0" y="1371599"/>
          <a:ext cx="10972800"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5E4C85-C076-453A-85E6-AD38F39F5DBF}">
      <dsp:nvSpPr>
        <dsp:cNvPr id="0" name=""/>
        <dsp:cNvSpPr/>
      </dsp:nvSpPr>
      <dsp:spPr>
        <a:xfrm>
          <a:off x="0" y="1371599"/>
          <a:ext cx="10972800" cy="6857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b="0" i="0" kern="1200"/>
            <a:t>Toggles </a:t>
          </a:r>
          <a:r>
            <a:rPr lang="en-US" sz="3000" b="1" i="0" kern="1200"/>
            <a:t>strict mode</a:t>
          </a:r>
          <a:endParaRPr lang="en-US" sz="3000" kern="1200"/>
        </a:p>
      </dsp:txBody>
      <dsp:txXfrm>
        <a:off x="0" y="1371599"/>
        <a:ext cx="10972800" cy="685799"/>
      </dsp:txXfrm>
    </dsp:sp>
    <dsp:sp modelId="{B8285F78-EEDC-429B-9E7F-5D3F7656C2A5}">
      <dsp:nvSpPr>
        <dsp:cNvPr id="0" name=""/>
        <dsp:cNvSpPr/>
      </dsp:nvSpPr>
      <dsp:spPr>
        <a:xfrm>
          <a:off x="0" y="2057399"/>
          <a:ext cx="10972800"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2ADC40-4E66-4DFC-B680-8EF69846BEA2}">
      <dsp:nvSpPr>
        <dsp:cNvPr id="0" name=""/>
        <dsp:cNvSpPr/>
      </dsp:nvSpPr>
      <dsp:spPr>
        <a:xfrm>
          <a:off x="0" y="2057399"/>
          <a:ext cx="10972800" cy="6857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t>Enables </a:t>
          </a:r>
          <a:r>
            <a:rPr lang="en-US" sz="3000" b="1" kern="1200"/>
            <a:t>step</a:t>
          </a:r>
          <a:r>
            <a:rPr lang="en-US" sz="3000" kern="1200"/>
            <a:t> mode</a:t>
          </a:r>
        </a:p>
      </dsp:txBody>
      <dsp:txXfrm>
        <a:off x="0" y="2057399"/>
        <a:ext cx="10972800" cy="685799"/>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73BE67-3514-42FB-AD66-837DEB4D555A}">
      <dsp:nvSpPr>
        <dsp:cNvPr id="0" name=""/>
        <dsp:cNvSpPr/>
      </dsp:nvSpPr>
      <dsp:spPr>
        <a:xfrm>
          <a:off x="0" y="27067"/>
          <a:ext cx="5486400" cy="954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Same core capabilities as ISE</a:t>
          </a:r>
        </a:p>
      </dsp:txBody>
      <dsp:txXfrm>
        <a:off x="46606" y="73673"/>
        <a:ext cx="5393188" cy="861508"/>
      </dsp:txXfrm>
    </dsp:sp>
    <dsp:sp modelId="{D3DBE716-B0AA-450B-8458-A88C6DAA66F4}">
      <dsp:nvSpPr>
        <dsp:cNvPr id="0" name=""/>
        <dsp:cNvSpPr/>
      </dsp:nvSpPr>
      <dsp:spPr>
        <a:xfrm>
          <a:off x="0" y="1128667"/>
          <a:ext cx="5486400" cy="954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Convenient Variables</a:t>
          </a:r>
        </a:p>
      </dsp:txBody>
      <dsp:txXfrm>
        <a:off x="46606" y="1175273"/>
        <a:ext cx="5393188" cy="861508"/>
      </dsp:txXfrm>
    </dsp:sp>
    <dsp:sp modelId="{183F3790-0143-4DF3-80FB-E87333C15F0F}">
      <dsp:nvSpPr>
        <dsp:cNvPr id="0" name=""/>
        <dsp:cNvSpPr/>
      </dsp:nvSpPr>
      <dsp:spPr>
        <a:xfrm>
          <a:off x="0" y="2083387"/>
          <a:ext cx="5486400" cy="13196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419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Watch Window</a:t>
          </a:r>
        </a:p>
        <a:p>
          <a:pPr marL="228600" lvl="1" indent="-228600" algn="l" defTabSz="1066800">
            <a:lnSpc>
              <a:spcPct val="90000"/>
            </a:lnSpc>
            <a:spcBef>
              <a:spcPct val="0"/>
            </a:spcBef>
            <a:spcAft>
              <a:spcPct val="20000"/>
            </a:spcAft>
            <a:buChar char="•"/>
          </a:pPr>
          <a:r>
            <a:rPr lang="en-US" sz="2400" kern="1200"/>
            <a:t>Monitor specific properties</a:t>
          </a:r>
        </a:p>
        <a:p>
          <a:pPr marL="228600" lvl="1" indent="-228600" algn="l" defTabSz="1066800">
            <a:lnSpc>
              <a:spcPct val="90000"/>
            </a:lnSpc>
            <a:spcBef>
              <a:spcPct val="0"/>
            </a:spcBef>
            <a:spcAft>
              <a:spcPct val="20000"/>
            </a:spcAft>
            <a:buChar char="•"/>
          </a:pPr>
          <a:r>
            <a:rPr lang="en-US" sz="2400" kern="1200"/>
            <a:t>Mouseover object info</a:t>
          </a:r>
        </a:p>
      </dsp:txBody>
      <dsp:txXfrm>
        <a:off x="0" y="2083387"/>
        <a:ext cx="5486400" cy="1319625"/>
      </dsp:txXfrm>
    </dsp:sp>
    <dsp:sp modelId="{13A2AFB5-0EB3-40B7-B822-C94D61C17735}">
      <dsp:nvSpPr>
        <dsp:cNvPr id="0" name=""/>
        <dsp:cNvSpPr/>
      </dsp:nvSpPr>
      <dsp:spPr>
        <a:xfrm>
          <a:off x="0" y="3403012"/>
          <a:ext cx="5486400" cy="954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Call Stack Window</a:t>
          </a:r>
        </a:p>
      </dsp:txBody>
      <dsp:txXfrm>
        <a:off x="46606" y="3449618"/>
        <a:ext cx="5393188" cy="861508"/>
      </dsp:txXfrm>
    </dsp:sp>
    <dsp:sp modelId="{1DE3EC98-DC64-4E4E-A3E4-F22AE7356EDE}">
      <dsp:nvSpPr>
        <dsp:cNvPr id="0" name=""/>
        <dsp:cNvSpPr/>
      </dsp:nvSpPr>
      <dsp:spPr>
        <a:xfrm>
          <a:off x="0" y="4504612"/>
          <a:ext cx="5486400" cy="954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Conditional Breakpoints</a:t>
          </a:r>
        </a:p>
      </dsp:txBody>
      <dsp:txXfrm>
        <a:off x="46606" y="4551218"/>
        <a:ext cx="5393188" cy="8615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92515E-CD02-4C4C-BD7C-A393AE5C0286}">
      <dsp:nvSpPr>
        <dsp:cNvPr id="0" name=""/>
        <dsp:cNvSpPr/>
      </dsp:nvSpPr>
      <dsp:spPr>
        <a:xfrm>
          <a:off x="0" y="0"/>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977FB7-A19E-4748-B514-6E24DD1076E8}">
      <dsp:nvSpPr>
        <dsp:cNvPr id="0" name=""/>
        <dsp:cNvSpPr/>
      </dsp:nvSpPr>
      <dsp:spPr>
        <a:xfrm>
          <a:off x="0" y="0"/>
          <a:ext cx="10880726" cy="5524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kern="1200"/>
            <a:t>Process of </a:t>
          </a:r>
          <a:r>
            <a:rPr lang="en-US" sz="2800" b="1" kern="1200"/>
            <a:t>identifying</a:t>
          </a:r>
          <a:r>
            <a:rPr lang="en-US" sz="2800" kern="1200"/>
            <a:t> and </a:t>
          </a:r>
          <a:r>
            <a:rPr lang="en-US" sz="2800" b="1" kern="1200"/>
            <a:t>removing</a:t>
          </a:r>
          <a:r>
            <a:rPr lang="en-US" sz="2800" kern="1200"/>
            <a:t> errors</a:t>
          </a:r>
        </a:p>
      </dsp:txBody>
      <dsp:txXfrm>
        <a:off x="0" y="0"/>
        <a:ext cx="10880726" cy="552450"/>
      </dsp:txXfrm>
    </dsp:sp>
    <dsp:sp modelId="{AB655DDB-1BA2-4227-96C4-2753E91A0794}">
      <dsp:nvSpPr>
        <dsp:cNvPr id="0" name=""/>
        <dsp:cNvSpPr/>
      </dsp:nvSpPr>
      <dsp:spPr>
        <a:xfrm>
          <a:off x="0" y="552449"/>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DF5BA09-C705-45C5-AE0F-FB8A5E403813}">
      <dsp:nvSpPr>
        <dsp:cNvPr id="0" name=""/>
        <dsp:cNvSpPr/>
      </dsp:nvSpPr>
      <dsp:spPr>
        <a:xfrm>
          <a:off x="0" y="552450"/>
          <a:ext cx="10880726" cy="5524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kern="1200"/>
            <a:t>Suspend code </a:t>
          </a:r>
          <a:r>
            <a:rPr lang="en-US" sz="2800" b="1" kern="1200"/>
            <a:t>during</a:t>
          </a:r>
          <a:r>
            <a:rPr lang="en-US" sz="2800" kern="1200"/>
            <a:t> execution</a:t>
          </a:r>
        </a:p>
      </dsp:txBody>
      <dsp:txXfrm>
        <a:off x="0" y="552450"/>
        <a:ext cx="10880726" cy="552450"/>
      </dsp:txXfrm>
    </dsp:sp>
    <dsp:sp modelId="{A5035FA2-26A3-4985-8AB8-FDEF3CD89851}">
      <dsp:nvSpPr>
        <dsp:cNvPr id="0" name=""/>
        <dsp:cNvSpPr/>
      </dsp:nvSpPr>
      <dsp:spPr>
        <a:xfrm>
          <a:off x="0" y="1104899"/>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A7E79A-92E1-4D0D-BEE7-CE422E3988F2}">
      <dsp:nvSpPr>
        <dsp:cNvPr id="0" name=""/>
        <dsp:cNvSpPr/>
      </dsp:nvSpPr>
      <dsp:spPr>
        <a:xfrm>
          <a:off x="0" y="1104900"/>
          <a:ext cx="10880726" cy="5524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b="1" kern="1200"/>
            <a:t>Interactive</a:t>
          </a:r>
          <a:r>
            <a:rPr lang="en-US" sz="2800" kern="1200"/>
            <a:t> investigation</a:t>
          </a:r>
        </a:p>
      </dsp:txBody>
      <dsp:txXfrm>
        <a:off x="0" y="1104900"/>
        <a:ext cx="10880726" cy="552450"/>
      </dsp:txXfrm>
    </dsp:sp>
    <dsp:sp modelId="{0A03F382-9D0B-47B4-BB0C-DBDF58D17372}">
      <dsp:nvSpPr>
        <dsp:cNvPr id="0" name=""/>
        <dsp:cNvSpPr/>
      </dsp:nvSpPr>
      <dsp:spPr>
        <a:xfrm>
          <a:off x="0" y="1657349"/>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605ACC-9C78-4AD8-AF5D-9B3688F2E0F7}">
      <dsp:nvSpPr>
        <dsp:cNvPr id="0" name=""/>
        <dsp:cNvSpPr/>
      </dsp:nvSpPr>
      <dsp:spPr>
        <a:xfrm>
          <a:off x="0" y="1657350"/>
          <a:ext cx="10880726" cy="5524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endParaRPr lang="en-US" sz="2800" kern="1200"/>
        </a:p>
      </dsp:txBody>
      <dsp:txXfrm>
        <a:off x="0" y="1657350"/>
        <a:ext cx="10880726" cy="5524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FBA10C-0257-4265-ACBC-DC902F0CAB96}">
      <dsp:nvSpPr>
        <dsp:cNvPr id="0" name=""/>
        <dsp:cNvSpPr/>
      </dsp:nvSpPr>
      <dsp:spPr>
        <a:xfrm>
          <a:off x="5312" y="612861"/>
          <a:ext cx="2527856" cy="1741693"/>
        </a:xfrm>
        <a:prstGeom prst="roundRect">
          <a:avLst/>
        </a:prstGeom>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5550" r="15550"/>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FD4603A6-F557-4C68-951D-DC98360CEB2D}">
      <dsp:nvSpPr>
        <dsp:cNvPr id="0" name=""/>
        <dsp:cNvSpPr/>
      </dsp:nvSpPr>
      <dsp:spPr>
        <a:xfrm>
          <a:off x="5312" y="2354554"/>
          <a:ext cx="2527856" cy="93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b="1" i="0" kern="1200"/>
            <a:t>Breakpoints</a:t>
          </a:r>
          <a:endParaRPr lang="en-US" sz="2400" b="1" kern="1200"/>
        </a:p>
      </dsp:txBody>
      <dsp:txXfrm>
        <a:off x="5312" y="2354554"/>
        <a:ext cx="2527856" cy="937834"/>
      </dsp:txXfrm>
    </dsp:sp>
    <dsp:sp modelId="{8501AF95-0235-4BC9-886A-5D21E122E01C}">
      <dsp:nvSpPr>
        <dsp:cNvPr id="0" name=""/>
        <dsp:cNvSpPr/>
      </dsp:nvSpPr>
      <dsp:spPr>
        <a:xfrm>
          <a:off x="2786060" y="612861"/>
          <a:ext cx="2527856" cy="1741693"/>
        </a:xfrm>
        <a:prstGeom prst="roundRect">
          <a:avLst/>
        </a:prstGeom>
        <a:blipFill dpi="0" rotWithShape="1">
          <a:blip xmlns:r="http://schemas.openxmlformats.org/officeDocument/2006/relationships" r:embed="rId3">
            <a:extLst>
              <a:ext uri="{96DAC541-7B7A-43D3-8B79-37D633B846F1}">
                <asvg:svgBlip xmlns:asvg="http://schemas.microsoft.com/office/drawing/2016/SVG/main" r:embed="rId4"/>
              </a:ext>
            </a:extLst>
          </a:blip>
          <a:srcRect/>
          <a:stretch>
            <a:fillRect l="15550" r="15550"/>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546D3D83-5BD1-45A9-8867-61A1C02F16C0}">
      <dsp:nvSpPr>
        <dsp:cNvPr id="0" name=""/>
        <dsp:cNvSpPr/>
      </dsp:nvSpPr>
      <dsp:spPr>
        <a:xfrm>
          <a:off x="2786060" y="2354554"/>
          <a:ext cx="2527856" cy="93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b="1" kern="1200"/>
            <a:t>Writing</a:t>
          </a:r>
          <a:r>
            <a:rPr lang="en-US" sz="2400" kern="1200"/>
            <a:t> </a:t>
          </a:r>
          <a:r>
            <a:rPr lang="en-US" sz="2400" b="1" kern="1200"/>
            <a:t>to</a:t>
          </a:r>
          <a:br>
            <a:rPr lang="en-US" sz="2400" kern="1200"/>
          </a:br>
          <a:r>
            <a:rPr lang="en-US" sz="2400" kern="1200"/>
            <a:t>console/logs</a:t>
          </a:r>
        </a:p>
      </dsp:txBody>
      <dsp:txXfrm>
        <a:off x="2786060" y="2354554"/>
        <a:ext cx="2527856" cy="937834"/>
      </dsp:txXfrm>
    </dsp:sp>
    <dsp:sp modelId="{7ED48CC1-A39F-48F5-B6B1-8E61391AB864}">
      <dsp:nvSpPr>
        <dsp:cNvPr id="0" name=""/>
        <dsp:cNvSpPr/>
      </dsp:nvSpPr>
      <dsp:spPr>
        <a:xfrm>
          <a:off x="5566808" y="612861"/>
          <a:ext cx="2527856" cy="1741693"/>
        </a:xfrm>
        <a:prstGeom prst="roundRect">
          <a:avLst/>
        </a:prstGeom>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15550" r="15550"/>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91451F40-25A8-4079-A5F1-7312166F9258}">
      <dsp:nvSpPr>
        <dsp:cNvPr id="0" name=""/>
        <dsp:cNvSpPr/>
      </dsp:nvSpPr>
      <dsp:spPr>
        <a:xfrm>
          <a:off x="5566808" y="2354554"/>
          <a:ext cx="2527856" cy="93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b="1" kern="1200"/>
            <a:t>Debugger</a:t>
          </a:r>
          <a:r>
            <a:rPr lang="en-US" sz="2400" kern="1200"/>
            <a:t> Exclusive Code</a:t>
          </a:r>
        </a:p>
      </dsp:txBody>
      <dsp:txXfrm>
        <a:off x="5566808" y="2354554"/>
        <a:ext cx="2527856" cy="937834"/>
      </dsp:txXfrm>
    </dsp:sp>
    <dsp:sp modelId="{68FEDBA5-7589-4BA4-B793-49A9FEBED451}">
      <dsp:nvSpPr>
        <dsp:cNvPr id="0" name=""/>
        <dsp:cNvSpPr/>
      </dsp:nvSpPr>
      <dsp:spPr>
        <a:xfrm>
          <a:off x="8347557" y="612861"/>
          <a:ext cx="2527856" cy="1741693"/>
        </a:xfrm>
        <a:prstGeom prst="roundRect">
          <a:avLst/>
        </a:prstGeom>
        <a:blipFill dpi="0" rotWithShape="1">
          <a:blip xmlns:r="http://schemas.openxmlformats.org/officeDocument/2006/relationships" r:embed="rId7">
            <a:extLst>
              <a:ext uri="{96DAC541-7B7A-43D3-8B79-37D633B846F1}">
                <asvg:svgBlip xmlns:asvg="http://schemas.microsoft.com/office/drawing/2016/SVG/main" r:embed="rId8"/>
              </a:ext>
            </a:extLst>
          </a:blip>
          <a:srcRect/>
          <a:stretch>
            <a:fillRect l="15550" r="15550"/>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CFEE1968-017E-4F79-830D-B7C9D43E23C3}">
      <dsp:nvSpPr>
        <dsp:cNvPr id="0" name=""/>
        <dsp:cNvSpPr/>
      </dsp:nvSpPr>
      <dsp:spPr>
        <a:xfrm>
          <a:off x="8347557" y="2354554"/>
          <a:ext cx="2527856" cy="93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b="1" kern="1200"/>
            <a:t>Call stack</a:t>
          </a:r>
        </a:p>
      </dsp:txBody>
      <dsp:txXfrm>
        <a:off x="8347557" y="2354554"/>
        <a:ext cx="2527856" cy="9378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69F5CF-AEF0-4DD8-9A84-8A3CC6FD8A26}">
      <dsp:nvSpPr>
        <dsp:cNvPr id="0" name=""/>
        <dsp:cNvSpPr/>
      </dsp:nvSpPr>
      <dsp:spPr>
        <a:xfrm>
          <a:off x="524914" y="872568"/>
          <a:ext cx="2382051" cy="1641233"/>
        </a:xfrm>
        <a:prstGeom prst="round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t="-23000" b="-2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70C8D2-F17F-4CE3-A801-E75312B780F1}">
      <dsp:nvSpPr>
        <dsp:cNvPr id="0" name=""/>
        <dsp:cNvSpPr/>
      </dsp:nvSpPr>
      <dsp:spPr>
        <a:xfrm>
          <a:off x="2160" y="2445634"/>
          <a:ext cx="3427559" cy="12716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199136" rIns="199136" bIns="0" numCol="1" spcCol="1270" anchor="t" anchorCtr="0">
          <a:noAutofit/>
        </a:bodyPr>
        <a:lstStyle/>
        <a:p>
          <a:pPr marL="0" lvl="0" indent="0" algn="ctr" defTabSz="1244600">
            <a:lnSpc>
              <a:spcPct val="90000"/>
            </a:lnSpc>
            <a:spcBef>
              <a:spcPct val="0"/>
            </a:spcBef>
            <a:spcAft>
              <a:spcPct val="35000"/>
            </a:spcAft>
            <a:buNone/>
          </a:pPr>
          <a:r>
            <a:rPr lang="en-US" sz="2800" b="1" kern="1200"/>
            <a:t>Line Numbers</a:t>
          </a:r>
        </a:p>
      </dsp:txBody>
      <dsp:txXfrm>
        <a:off x="2160" y="2445634"/>
        <a:ext cx="3427559" cy="1271624"/>
      </dsp:txXfrm>
    </dsp:sp>
    <dsp:sp modelId="{15C74813-EFD9-4E16-9C1A-53599FD3A8FD}">
      <dsp:nvSpPr>
        <dsp:cNvPr id="0" name=""/>
        <dsp:cNvSpPr/>
      </dsp:nvSpPr>
      <dsp:spPr>
        <a:xfrm>
          <a:off x="4295374" y="872568"/>
          <a:ext cx="2382051" cy="1641233"/>
        </a:xfrm>
        <a:prstGeom prst="round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23000" b="-2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D5ECF5-9562-4B23-83A8-19CF2E267FAB}">
      <dsp:nvSpPr>
        <dsp:cNvPr id="0" name=""/>
        <dsp:cNvSpPr/>
      </dsp:nvSpPr>
      <dsp:spPr>
        <a:xfrm>
          <a:off x="3772620" y="2445634"/>
          <a:ext cx="3427559" cy="12716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199136" rIns="199136" bIns="0" numCol="1" spcCol="1270" anchor="t" anchorCtr="0">
          <a:noAutofit/>
        </a:bodyPr>
        <a:lstStyle/>
        <a:p>
          <a:pPr marL="0" lvl="0" indent="0" algn="ctr" defTabSz="1244600">
            <a:lnSpc>
              <a:spcPct val="90000"/>
            </a:lnSpc>
            <a:spcBef>
              <a:spcPct val="0"/>
            </a:spcBef>
            <a:spcAft>
              <a:spcPct val="35000"/>
            </a:spcAft>
            <a:buNone/>
          </a:pPr>
          <a:r>
            <a:rPr lang="en-US" sz="2800" b="1" kern="1200" baseline="0"/>
            <a:t>Commands</a:t>
          </a:r>
          <a:br>
            <a:rPr lang="en-US" sz="2800" b="1" kern="1200" baseline="0"/>
          </a:br>
          <a:r>
            <a:rPr lang="en-US" sz="2800" b="0" kern="1200" baseline="0"/>
            <a:t>Functions</a:t>
          </a:r>
          <a:endParaRPr lang="en-US" sz="2800" b="0" kern="1200"/>
        </a:p>
      </dsp:txBody>
      <dsp:txXfrm>
        <a:off x="3772620" y="2445634"/>
        <a:ext cx="3427559" cy="1271624"/>
      </dsp:txXfrm>
    </dsp:sp>
    <dsp:sp modelId="{27E63F5B-42AD-46DC-A081-7A91F5CEC10C}">
      <dsp:nvSpPr>
        <dsp:cNvPr id="0" name=""/>
        <dsp:cNvSpPr/>
      </dsp:nvSpPr>
      <dsp:spPr>
        <a:xfrm>
          <a:off x="8065834" y="872568"/>
          <a:ext cx="2382051" cy="1641233"/>
        </a:xfrm>
        <a:prstGeom prst="round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t="-23000" b="-2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897A515-15EA-42CB-A408-B905BC047158}">
      <dsp:nvSpPr>
        <dsp:cNvPr id="0" name=""/>
        <dsp:cNvSpPr/>
      </dsp:nvSpPr>
      <dsp:spPr>
        <a:xfrm>
          <a:off x="7543079" y="2445634"/>
          <a:ext cx="3427559" cy="12716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199136" rIns="199136" bIns="0" numCol="1" spcCol="1270" anchor="t" anchorCtr="0">
          <a:noAutofit/>
        </a:bodyPr>
        <a:lstStyle/>
        <a:p>
          <a:pPr marL="0" lvl="0" indent="0" algn="ctr" defTabSz="1244600">
            <a:lnSpc>
              <a:spcPct val="90000"/>
            </a:lnSpc>
            <a:spcBef>
              <a:spcPct val="0"/>
            </a:spcBef>
            <a:spcAft>
              <a:spcPct val="35000"/>
            </a:spcAft>
            <a:buNone/>
          </a:pPr>
          <a:r>
            <a:rPr lang="en-US" sz="2800" b="1" kern="1200"/>
            <a:t>Variable </a:t>
          </a:r>
          <a:r>
            <a:rPr lang="en-US" sz="2800" b="0" kern="1200"/>
            <a:t>Read/Write</a:t>
          </a:r>
        </a:p>
      </dsp:txBody>
      <dsp:txXfrm>
        <a:off x="7543079" y="2445634"/>
        <a:ext cx="3427559" cy="127162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D48FFE-44BC-4578-80A9-CD3A619C0F76}">
      <dsp:nvSpPr>
        <dsp:cNvPr id="0" name=""/>
        <dsp:cNvSpPr/>
      </dsp:nvSpPr>
      <dsp:spPr>
        <a:xfrm>
          <a:off x="0" y="0"/>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35133D-17BE-4D70-A2BC-2F7A4C002797}">
      <dsp:nvSpPr>
        <dsp:cNvPr id="0" name=""/>
        <dsp:cNvSpPr/>
      </dsp:nvSpPr>
      <dsp:spPr>
        <a:xfrm>
          <a:off x="0" y="0"/>
          <a:ext cx="10972800" cy="6907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kern="1200" baseline="0"/>
            <a:t>Point in the code to </a:t>
          </a:r>
          <a:r>
            <a:rPr lang="en-US" sz="2800" b="1" kern="1200" baseline="0"/>
            <a:t>suspend</a:t>
          </a:r>
          <a:r>
            <a:rPr lang="en-US" sz="2800" kern="1200" baseline="0"/>
            <a:t> a script and start the debugger</a:t>
          </a:r>
        </a:p>
      </dsp:txBody>
      <dsp:txXfrm>
        <a:off x="0" y="0"/>
        <a:ext cx="10972800" cy="690769"/>
      </dsp:txXfrm>
    </dsp:sp>
    <dsp:sp modelId="{7EAEB83B-81A6-4175-A2A2-1DEC5C64311B}">
      <dsp:nvSpPr>
        <dsp:cNvPr id="0" name=""/>
        <dsp:cNvSpPr/>
      </dsp:nvSpPr>
      <dsp:spPr>
        <a:xfrm>
          <a:off x="0" y="690769"/>
          <a:ext cx="109728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233AC8-9BB3-4B43-A2F4-A9CC00A97FC8}">
      <dsp:nvSpPr>
        <dsp:cNvPr id="0" name=""/>
        <dsp:cNvSpPr/>
      </dsp:nvSpPr>
      <dsp:spPr>
        <a:xfrm>
          <a:off x="0" y="690769"/>
          <a:ext cx="10972800" cy="6907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b="1" kern="1200" baseline="0"/>
            <a:t>Created</a:t>
          </a:r>
          <a:r>
            <a:rPr lang="en-US" sz="2800" kern="1200" baseline="0"/>
            <a:t> in GUI or command line with Set-</a:t>
          </a:r>
          <a:r>
            <a:rPr lang="en-US" sz="2800" kern="1200" baseline="0" err="1"/>
            <a:t>PSBreakpoint</a:t>
          </a:r>
          <a:endParaRPr lang="en-US" sz="2800" kern="1200" baseline="0"/>
        </a:p>
      </dsp:txBody>
      <dsp:txXfrm>
        <a:off x="0" y="690769"/>
        <a:ext cx="10972800" cy="69076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A33950-739F-4965-8793-EBA1AC8FC0FB}">
      <dsp:nvSpPr>
        <dsp:cNvPr id="0" name=""/>
        <dsp:cNvSpPr/>
      </dsp:nvSpPr>
      <dsp:spPr>
        <a:xfrm>
          <a:off x="0" y="404740"/>
          <a:ext cx="4830763" cy="17010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74921" tIns="562356" rIns="374921" bIns="199136" numCol="1" spcCol="1270" anchor="t" anchorCtr="0">
          <a:noAutofit/>
        </a:bodyPr>
        <a:lstStyle/>
        <a:p>
          <a:pPr marL="285750" lvl="1" indent="-285750" algn="l" defTabSz="1244600">
            <a:lnSpc>
              <a:spcPct val="90000"/>
            </a:lnSpc>
            <a:spcBef>
              <a:spcPct val="0"/>
            </a:spcBef>
            <a:spcAft>
              <a:spcPct val="15000"/>
            </a:spcAft>
            <a:buNone/>
          </a:pPr>
          <a:r>
            <a:rPr lang="en-US" sz="2800" kern="1200" baseline="0"/>
            <a:t>ISE (</a:t>
          </a:r>
          <a:r>
            <a:rPr lang="en-US" sz="2800" b="0" kern="1200" baseline="0"/>
            <a:t>line only</a:t>
          </a:r>
          <a:r>
            <a:rPr lang="en-US" sz="2800" kern="1200" baseline="0"/>
            <a:t>)</a:t>
          </a:r>
        </a:p>
        <a:p>
          <a:pPr marL="285750" lvl="1" indent="-285750" algn="l" defTabSz="1244600">
            <a:lnSpc>
              <a:spcPct val="90000"/>
            </a:lnSpc>
            <a:spcBef>
              <a:spcPct val="0"/>
            </a:spcBef>
            <a:spcAft>
              <a:spcPct val="15000"/>
            </a:spcAft>
            <a:buNone/>
          </a:pPr>
          <a:r>
            <a:rPr lang="en-US" sz="2800" kern="1200" baseline="0"/>
            <a:t>Set-</a:t>
          </a:r>
          <a:r>
            <a:rPr lang="en-US" sz="2800" kern="1200" baseline="0" err="1"/>
            <a:t>PSBreakpoint</a:t>
          </a:r>
          <a:endParaRPr lang="en-US" sz="2800" kern="1200" baseline="0"/>
        </a:p>
      </dsp:txBody>
      <dsp:txXfrm>
        <a:off x="0" y="404740"/>
        <a:ext cx="4830763" cy="1701000"/>
      </dsp:txXfrm>
    </dsp:sp>
    <dsp:sp modelId="{BA1DF8F0-4B63-4651-BF06-4B7E26308213}">
      <dsp:nvSpPr>
        <dsp:cNvPr id="0" name=""/>
        <dsp:cNvSpPr/>
      </dsp:nvSpPr>
      <dsp:spPr>
        <a:xfrm>
          <a:off x="241538" y="6220"/>
          <a:ext cx="3381534" cy="7970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814" tIns="0" rIns="127814" bIns="0" numCol="1" spcCol="1270" anchor="ctr" anchorCtr="0">
          <a:noAutofit/>
        </a:bodyPr>
        <a:lstStyle/>
        <a:p>
          <a:pPr marL="0" lvl="0" indent="0" algn="l" defTabSz="1244600">
            <a:lnSpc>
              <a:spcPct val="90000"/>
            </a:lnSpc>
            <a:spcBef>
              <a:spcPct val="0"/>
            </a:spcBef>
            <a:spcAft>
              <a:spcPct val="35000"/>
            </a:spcAft>
            <a:buNone/>
          </a:pPr>
          <a:r>
            <a:rPr lang="en-US" sz="2800" kern="1200" baseline="0"/>
            <a:t>Create</a:t>
          </a:r>
        </a:p>
      </dsp:txBody>
      <dsp:txXfrm>
        <a:off x="280446" y="45128"/>
        <a:ext cx="3303718" cy="719224"/>
      </dsp:txXfrm>
    </dsp:sp>
    <dsp:sp modelId="{74F92588-28EE-4FBE-ABB0-9C5C9E50E7CA}">
      <dsp:nvSpPr>
        <dsp:cNvPr id="0" name=""/>
        <dsp:cNvSpPr/>
      </dsp:nvSpPr>
      <dsp:spPr>
        <a:xfrm>
          <a:off x="0" y="2650060"/>
          <a:ext cx="4830763" cy="2740666"/>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74921" tIns="562356" rIns="374921" bIns="199136" numCol="1" spcCol="1270" anchor="t" anchorCtr="0">
          <a:noAutofit/>
        </a:bodyPr>
        <a:lstStyle/>
        <a:p>
          <a:pPr marL="285750" lvl="1" indent="-285750" algn="l" defTabSz="1244600">
            <a:lnSpc>
              <a:spcPct val="90000"/>
            </a:lnSpc>
            <a:spcBef>
              <a:spcPct val="0"/>
            </a:spcBef>
            <a:spcAft>
              <a:spcPct val="15000"/>
            </a:spcAft>
            <a:buNone/>
          </a:pPr>
          <a:r>
            <a:rPr lang="en-US" sz="2800" kern="1200" baseline="0"/>
            <a:t>Remove-</a:t>
          </a:r>
          <a:r>
            <a:rPr lang="en-US" sz="2800" kern="1200" baseline="0" err="1"/>
            <a:t>PSBreakPoint</a:t>
          </a:r>
          <a:endParaRPr lang="en-US" sz="2800" kern="1200" baseline="0"/>
        </a:p>
        <a:p>
          <a:pPr marL="285750" lvl="1" indent="-285750" algn="l" defTabSz="1244600">
            <a:lnSpc>
              <a:spcPct val="90000"/>
            </a:lnSpc>
            <a:spcBef>
              <a:spcPct val="0"/>
            </a:spcBef>
            <a:spcAft>
              <a:spcPct val="15000"/>
            </a:spcAft>
            <a:buNone/>
          </a:pPr>
          <a:r>
            <a:rPr lang="en-US" sz="2800" kern="1200" baseline="0"/>
            <a:t>Get-</a:t>
          </a:r>
          <a:r>
            <a:rPr lang="en-US" sz="2800" kern="1200" baseline="0" err="1"/>
            <a:t>PSBreakpoint</a:t>
          </a:r>
          <a:endParaRPr lang="en-US" sz="2800" kern="1200" baseline="0"/>
        </a:p>
        <a:p>
          <a:pPr marL="285750" lvl="1" indent="-285750" algn="l" defTabSz="1244600">
            <a:lnSpc>
              <a:spcPct val="90000"/>
            </a:lnSpc>
            <a:spcBef>
              <a:spcPct val="0"/>
            </a:spcBef>
            <a:spcAft>
              <a:spcPct val="15000"/>
            </a:spcAft>
            <a:buNone/>
          </a:pPr>
          <a:r>
            <a:rPr lang="en-US" sz="2800" kern="1200" baseline="0"/>
            <a:t>Enable-</a:t>
          </a:r>
          <a:r>
            <a:rPr lang="en-US" sz="2800" kern="1200" baseline="0" err="1"/>
            <a:t>PSBreakpoint</a:t>
          </a:r>
          <a:endParaRPr lang="en-US" sz="2800" kern="1200" baseline="0"/>
        </a:p>
        <a:p>
          <a:pPr marL="285750" lvl="1" indent="-285750" algn="l" defTabSz="1244600">
            <a:lnSpc>
              <a:spcPct val="90000"/>
            </a:lnSpc>
            <a:spcBef>
              <a:spcPct val="0"/>
            </a:spcBef>
            <a:spcAft>
              <a:spcPct val="15000"/>
            </a:spcAft>
            <a:buNone/>
          </a:pPr>
          <a:r>
            <a:rPr lang="en-US" sz="2800" kern="1200" baseline="0"/>
            <a:t>Disable-</a:t>
          </a:r>
          <a:r>
            <a:rPr lang="en-US" sz="2800" kern="1200" baseline="0" err="1"/>
            <a:t>PSbreakpoint</a:t>
          </a:r>
          <a:endParaRPr lang="en-US" sz="2800" kern="1200" baseline="0"/>
        </a:p>
      </dsp:txBody>
      <dsp:txXfrm>
        <a:off x="0" y="2650060"/>
        <a:ext cx="4830763" cy="2740666"/>
      </dsp:txXfrm>
    </dsp:sp>
    <dsp:sp modelId="{8129C115-CF13-47B6-B212-279F825558DC}">
      <dsp:nvSpPr>
        <dsp:cNvPr id="0" name=""/>
        <dsp:cNvSpPr/>
      </dsp:nvSpPr>
      <dsp:spPr>
        <a:xfrm>
          <a:off x="241538" y="2251540"/>
          <a:ext cx="3381534" cy="7970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814" tIns="0" rIns="127814" bIns="0" numCol="1" spcCol="1270" anchor="ctr" anchorCtr="0">
          <a:noAutofit/>
        </a:bodyPr>
        <a:lstStyle/>
        <a:p>
          <a:pPr marL="0" lvl="0" indent="0" algn="l" defTabSz="1244600">
            <a:lnSpc>
              <a:spcPct val="90000"/>
            </a:lnSpc>
            <a:spcBef>
              <a:spcPct val="0"/>
            </a:spcBef>
            <a:spcAft>
              <a:spcPct val="35000"/>
            </a:spcAft>
            <a:buNone/>
          </a:pPr>
          <a:r>
            <a:rPr lang="en-US" sz="2800" kern="1200" baseline="0"/>
            <a:t>Manage</a:t>
          </a:r>
        </a:p>
      </dsp:txBody>
      <dsp:txXfrm>
        <a:off x="280446" y="2290448"/>
        <a:ext cx="3303718" cy="71922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F4635-21CE-4F07-8730-A1D3499273EB}">
      <dsp:nvSpPr>
        <dsp:cNvPr id="0" name=""/>
        <dsp:cNvSpPr/>
      </dsp:nvSpPr>
      <dsp:spPr>
        <a:xfrm>
          <a:off x="0" y="334529"/>
          <a:ext cx="10972800" cy="952875"/>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1611" tIns="458216" rIns="851611" bIns="156464" numCol="1" spcCol="1270" anchor="t" anchorCtr="0">
          <a:noAutofit/>
        </a:bodyPr>
        <a:lstStyle/>
        <a:p>
          <a:pPr marL="228600" lvl="1" indent="-228600" algn="l" defTabSz="977900">
            <a:lnSpc>
              <a:spcPct val="90000"/>
            </a:lnSpc>
            <a:spcBef>
              <a:spcPct val="0"/>
            </a:spcBef>
            <a:spcAft>
              <a:spcPct val="15000"/>
            </a:spcAft>
            <a:buNone/>
          </a:pPr>
          <a:r>
            <a:rPr lang="en-US" sz="2200" kern="1200"/>
            <a:t>Run code until next breakpoint</a:t>
          </a:r>
        </a:p>
      </dsp:txBody>
      <dsp:txXfrm>
        <a:off x="0" y="334529"/>
        <a:ext cx="10972800" cy="952875"/>
      </dsp:txXfrm>
    </dsp:sp>
    <dsp:sp modelId="{3D3F60A9-283C-4A4B-8EE0-0376D3DCFCA2}">
      <dsp:nvSpPr>
        <dsp:cNvPr id="0" name=""/>
        <dsp:cNvSpPr/>
      </dsp:nvSpPr>
      <dsp:spPr>
        <a:xfrm>
          <a:off x="548640" y="9809"/>
          <a:ext cx="7680960" cy="6494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977900">
            <a:lnSpc>
              <a:spcPct val="90000"/>
            </a:lnSpc>
            <a:spcBef>
              <a:spcPct val="0"/>
            </a:spcBef>
            <a:spcAft>
              <a:spcPct val="35000"/>
            </a:spcAft>
            <a:buNone/>
          </a:pPr>
          <a:r>
            <a:rPr lang="en-US" sz="2200" b="1" kern="1200"/>
            <a:t>Continue</a:t>
          </a:r>
          <a:r>
            <a:rPr lang="en-US" sz="2200" kern="1200"/>
            <a:t> – F5</a:t>
          </a:r>
        </a:p>
      </dsp:txBody>
      <dsp:txXfrm>
        <a:off x="580343" y="41512"/>
        <a:ext cx="7617554" cy="586034"/>
      </dsp:txXfrm>
    </dsp:sp>
    <dsp:sp modelId="{A1E8898D-C053-4A4B-9961-6CDACB497162}">
      <dsp:nvSpPr>
        <dsp:cNvPr id="0" name=""/>
        <dsp:cNvSpPr/>
      </dsp:nvSpPr>
      <dsp:spPr>
        <a:xfrm>
          <a:off x="0" y="1730925"/>
          <a:ext cx="10972800" cy="952875"/>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1611" tIns="458216" rIns="851611" bIns="156464" numCol="1" spcCol="1270" anchor="t" anchorCtr="0">
          <a:noAutofit/>
        </a:bodyPr>
        <a:lstStyle/>
        <a:p>
          <a:pPr marL="228600" lvl="1" indent="-228600" algn="l" defTabSz="977900">
            <a:lnSpc>
              <a:spcPct val="90000"/>
            </a:lnSpc>
            <a:spcBef>
              <a:spcPct val="0"/>
            </a:spcBef>
            <a:spcAft>
              <a:spcPct val="15000"/>
            </a:spcAft>
            <a:buNone/>
          </a:pPr>
          <a:r>
            <a:rPr lang="en-US" sz="2200" kern="1200"/>
            <a:t>Run the current line of code</a:t>
          </a:r>
        </a:p>
      </dsp:txBody>
      <dsp:txXfrm>
        <a:off x="0" y="1730925"/>
        <a:ext cx="10972800" cy="952875"/>
      </dsp:txXfrm>
    </dsp:sp>
    <dsp:sp modelId="{0FE5BE88-CBDD-4548-AC9F-A256B09EABDB}">
      <dsp:nvSpPr>
        <dsp:cNvPr id="0" name=""/>
        <dsp:cNvSpPr/>
      </dsp:nvSpPr>
      <dsp:spPr>
        <a:xfrm>
          <a:off x="548640" y="1406205"/>
          <a:ext cx="7680960" cy="6494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977900">
            <a:lnSpc>
              <a:spcPct val="90000"/>
            </a:lnSpc>
            <a:spcBef>
              <a:spcPct val="0"/>
            </a:spcBef>
            <a:spcAft>
              <a:spcPct val="35000"/>
            </a:spcAft>
            <a:buNone/>
          </a:pPr>
          <a:r>
            <a:rPr lang="en-US" sz="2200" b="1" kern="1200"/>
            <a:t>Step</a:t>
          </a:r>
          <a:r>
            <a:rPr lang="en-US" sz="2200" kern="1200"/>
            <a:t> </a:t>
          </a:r>
          <a:r>
            <a:rPr lang="en-US" sz="2200" b="1" kern="1200"/>
            <a:t>Over</a:t>
          </a:r>
          <a:r>
            <a:rPr lang="en-US" sz="2200" kern="1200"/>
            <a:t> – F10</a:t>
          </a:r>
        </a:p>
      </dsp:txBody>
      <dsp:txXfrm>
        <a:off x="580343" y="1437908"/>
        <a:ext cx="7617554" cy="586034"/>
      </dsp:txXfrm>
    </dsp:sp>
    <dsp:sp modelId="{44A46D18-D3E9-49DB-9D4E-2978F20E9520}">
      <dsp:nvSpPr>
        <dsp:cNvPr id="0" name=""/>
        <dsp:cNvSpPr/>
      </dsp:nvSpPr>
      <dsp:spPr>
        <a:xfrm>
          <a:off x="0" y="3127320"/>
          <a:ext cx="10972800" cy="952875"/>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1611" tIns="458216" rIns="851611" bIns="156464" numCol="1" spcCol="1270" anchor="t" anchorCtr="0">
          <a:noAutofit/>
        </a:bodyPr>
        <a:lstStyle/>
        <a:p>
          <a:pPr marL="228600" lvl="1" indent="-228600" algn="l" defTabSz="977900">
            <a:lnSpc>
              <a:spcPct val="90000"/>
            </a:lnSpc>
            <a:spcBef>
              <a:spcPct val="0"/>
            </a:spcBef>
            <a:spcAft>
              <a:spcPct val="15000"/>
            </a:spcAft>
            <a:buNone/>
          </a:pPr>
          <a:r>
            <a:rPr lang="en-US" sz="2200" kern="1200"/>
            <a:t>Enters the function or script called from the current line </a:t>
          </a:r>
        </a:p>
      </dsp:txBody>
      <dsp:txXfrm>
        <a:off x="0" y="3127320"/>
        <a:ext cx="10972800" cy="952875"/>
      </dsp:txXfrm>
    </dsp:sp>
    <dsp:sp modelId="{4C2E1E2B-F285-4E3F-AD53-3BE27464461E}">
      <dsp:nvSpPr>
        <dsp:cNvPr id="0" name=""/>
        <dsp:cNvSpPr/>
      </dsp:nvSpPr>
      <dsp:spPr>
        <a:xfrm>
          <a:off x="548640" y="2802599"/>
          <a:ext cx="7680960" cy="6494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977900">
            <a:lnSpc>
              <a:spcPct val="90000"/>
            </a:lnSpc>
            <a:spcBef>
              <a:spcPct val="0"/>
            </a:spcBef>
            <a:spcAft>
              <a:spcPct val="35000"/>
            </a:spcAft>
            <a:buNone/>
          </a:pPr>
          <a:r>
            <a:rPr lang="en-US" sz="2200" b="1" kern="1200"/>
            <a:t>Step</a:t>
          </a:r>
          <a:r>
            <a:rPr lang="en-US" sz="2200" kern="1200"/>
            <a:t> </a:t>
          </a:r>
          <a:r>
            <a:rPr lang="en-US" sz="2200" b="1" kern="1200"/>
            <a:t>Into</a:t>
          </a:r>
          <a:r>
            <a:rPr lang="en-US" sz="2200" kern="1200"/>
            <a:t> – F11</a:t>
          </a:r>
        </a:p>
      </dsp:txBody>
      <dsp:txXfrm>
        <a:off x="580343" y="2834302"/>
        <a:ext cx="7617554" cy="586034"/>
      </dsp:txXfrm>
    </dsp:sp>
    <dsp:sp modelId="{AE5C2A29-F76A-43F2-BDB4-CA8AFBE2C995}">
      <dsp:nvSpPr>
        <dsp:cNvPr id="0" name=""/>
        <dsp:cNvSpPr/>
      </dsp:nvSpPr>
      <dsp:spPr>
        <a:xfrm>
          <a:off x="0" y="4523715"/>
          <a:ext cx="10972800" cy="952875"/>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1611" tIns="458216" rIns="851611" bIns="156464" numCol="1" spcCol="1270" anchor="t" anchorCtr="0">
          <a:noAutofit/>
        </a:bodyPr>
        <a:lstStyle/>
        <a:p>
          <a:pPr marL="228600" lvl="1" indent="-228600" algn="l" defTabSz="977900">
            <a:lnSpc>
              <a:spcPct val="90000"/>
            </a:lnSpc>
            <a:spcBef>
              <a:spcPct val="0"/>
            </a:spcBef>
            <a:spcAft>
              <a:spcPct val="15000"/>
            </a:spcAft>
            <a:buNone/>
          </a:pPr>
          <a:r>
            <a:rPr lang="en-US" sz="2200" kern="1200"/>
            <a:t>Finishes the current function and exits to the parent scope</a:t>
          </a:r>
        </a:p>
      </dsp:txBody>
      <dsp:txXfrm>
        <a:off x="0" y="4523715"/>
        <a:ext cx="10972800" cy="952875"/>
      </dsp:txXfrm>
    </dsp:sp>
    <dsp:sp modelId="{CE49B867-A00E-4861-B236-AE331812F218}">
      <dsp:nvSpPr>
        <dsp:cNvPr id="0" name=""/>
        <dsp:cNvSpPr/>
      </dsp:nvSpPr>
      <dsp:spPr>
        <a:xfrm>
          <a:off x="548640" y="4198995"/>
          <a:ext cx="7680960" cy="6494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977900">
            <a:lnSpc>
              <a:spcPct val="90000"/>
            </a:lnSpc>
            <a:spcBef>
              <a:spcPct val="0"/>
            </a:spcBef>
            <a:spcAft>
              <a:spcPct val="35000"/>
            </a:spcAft>
            <a:buNone/>
          </a:pPr>
          <a:r>
            <a:rPr lang="en-US" sz="2200" b="1" kern="1200"/>
            <a:t>Step</a:t>
          </a:r>
          <a:r>
            <a:rPr lang="en-US" sz="2200" kern="1200"/>
            <a:t> </a:t>
          </a:r>
          <a:r>
            <a:rPr lang="en-US" sz="2200" b="1" kern="1200"/>
            <a:t>Out</a:t>
          </a:r>
          <a:r>
            <a:rPr lang="en-US" sz="2200" kern="1200"/>
            <a:t> – Shift+F11</a:t>
          </a:r>
        </a:p>
      </dsp:txBody>
      <dsp:txXfrm>
        <a:off x="580343" y="4230698"/>
        <a:ext cx="7617554" cy="58603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EAC22C-B91D-4799-9716-67455FAACC2F}">
      <dsp:nvSpPr>
        <dsp:cNvPr id="0" name=""/>
        <dsp:cNvSpPr/>
      </dsp:nvSpPr>
      <dsp:spPr>
        <a:xfrm>
          <a:off x="0" y="398"/>
          <a:ext cx="109728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B372A6-A487-40EE-A439-1C1256DE8341}">
      <dsp:nvSpPr>
        <dsp:cNvPr id="0" name=""/>
        <dsp:cNvSpPr/>
      </dsp:nvSpPr>
      <dsp:spPr>
        <a:xfrm>
          <a:off x="0" y="398"/>
          <a:ext cx="10972800" cy="6533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A </a:t>
          </a:r>
          <a:r>
            <a:rPr lang="en-US" sz="2800" b="1" kern="1200"/>
            <a:t>map</a:t>
          </a:r>
          <a:r>
            <a:rPr lang="en-US" sz="2800" kern="1200"/>
            <a:t> of the functions called to arrive at the current line of code</a:t>
          </a:r>
        </a:p>
      </dsp:txBody>
      <dsp:txXfrm>
        <a:off x="0" y="398"/>
        <a:ext cx="10972800" cy="653396"/>
      </dsp:txXfrm>
    </dsp:sp>
    <dsp:sp modelId="{E158AE44-A6B1-4737-8AAC-044278C68614}">
      <dsp:nvSpPr>
        <dsp:cNvPr id="0" name=""/>
        <dsp:cNvSpPr/>
      </dsp:nvSpPr>
      <dsp:spPr>
        <a:xfrm>
          <a:off x="0" y="653795"/>
          <a:ext cx="10972800"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EE35F8-CB35-42B4-9569-256AE017C36E}">
      <dsp:nvSpPr>
        <dsp:cNvPr id="0" name=""/>
        <dsp:cNvSpPr/>
      </dsp:nvSpPr>
      <dsp:spPr>
        <a:xfrm>
          <a:off x="0" y="672169"/>
          <a:ext cx="10972800" cy="6533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When a command is called, it is </a:t>
          </a:r>
          <a:r>
            <a:rPr lang="en-US" sz="2800" b="1" kern="1200"/>
            <a:t>added</a:t>
          </a:r>
          <a:r>
            <a:rPr lang="en-US" sz="2800" kern="1200"/>
            <a:t> to the </a:t>
          </a:r>
          <a:r>
            <a:rPr lang="en-US" sz="2800" b="1" kern="1200"/>
            <a:t>top</a:t>
          </a:r>
          <a:r>
            <a:rPr lang="en-US" sz="2800" kern="1200"/>
            <a:t> of the stack</a:t>
          </a:r>
        </a:p>
      </dsp:txBody>
      <dsp:txXfrm>
        <a:off x="0" y="672169"/>
        <a:ext cx="10972800" cy="653396"/>
      </dsp:txXfrm>
    </dsp:sp>
    <dsp:sp modelId="{9FC4D28A-9012-4A54-893A-7E61420C2986}">
      <dsp:nvSpPr>
        <dsp:cNvPr id="0" name=""/>
        <dsp:cNvSpPr/>
      </dsp:nvSpPr>
      <dsp:spPr>
        <a:xfrm>
          <a:off x="0" y="1307192"/>
          <a:ext cx="10972800"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983D69-54AF-4120-9CCC-3D06243DBE3E}">
      <dsp:nvSpPr>
        <dsp:cNvPr id="0" name=""/>
        <dsp:cNvSpPr/>
      </dsp:nvSpPr>
      <dsp:spPr>
        <a:xfrm>
          <a:off x="0" y="1307192"/>
          <a:ext cx="10972800" cy="6533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Commands are </a:t>
          </a:r>
          <a:r>
            <a:rPr lang="en-US" sz="2800" b="1" kern="1200"/>
            <a:t>executed</a:t>
          </a:r>
          <a:r>
            <a:rPr lang="en-US" sz="2800" kern="1200"/>
            <a:t> from the </a:t>
          </a:r>
          <a:r>
            <a:rPr lang="en-US" sz="2800" b="1" kern="1200"/>
            <a:t>top</a:t>
          </a:r>
          <a:r>
            <a:rPr lang="en-US" sz="2800" kern="1200"/>
            <a:t> of the stack</a:t>
          </a:r>
        </a:p>
      </dsp:txBody>
      <dsp:txXfrm>
        <a:off x="0" y="1307192"/>
        <a:ext cx="10972800" cy="653396"/>
      </dsp:txXfrm>
    </dsp:sp>
    <dsp:sp modelId="{B2D4C2B0-285F-4448-B96A-91EA22747922}">
      <dsp:nvSpPr>
        <dsp:cNvPr id="0" name=""/>
        <dsp:cNvSpPr/>
      </dsp:nvSpPr>
      <dsp:spPr>
        <a:xfrm>
          <a:off x="0" y="1960588"/>
          <a:ext cx="10972800"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E9D28A-4D58-4062-91F8-150E662E3337}">
      <dsp:nvSpPr>
        <dsp:cNvPr id="0" name=""/>
        <dsp:cNvSpPr/>
      </dsp:nvSpPr>
      <dsp:spPr>
        <a:xfrm>
          <a:off x="0" y="1960588"/>
          <a:ext cx="10972800" cy="6533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1" kern="1200"/>
            <a:t>Get-PSCallStack</a:t>
          </a:r>
          <a:r>
            <a:rPr lang="en-US" sz="2800" kern="1200"/>
            <a:t> shows all current commands on the stack</a:t>
          </a:r>
        </a:p>
      </dsp:txBody>
      <dsp:txXfrm>
        <a:off x="0" y="1960588"/>
        <a:ext cx="10972800" cy="653396"/>
      </dsp:txXfrm>
    </dsp:sp>
    <dsp:sp modelId="{74FD962D-138E-4F12-A8C1-4D60A7BAC90C}">
      <dsp:nvSpPr>
        <dsp:cNvPr id="0" name=""/>
        <dsp:cNvSpPr/>
      </dsp:nvSpPr>
      <dsp:spPr>
        <a:xfrm>
          <a:off x="0" y="2613985"/>
          <a:ext cx="10972800"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4DBF221-22AA-4EDC-9394-973622E7263A}">
      <dsp:nvSpPr>
        <dsp:cNvPr id="0" name=""/>
        <dsp:cNvSpPr/>
      </dsp:nvSpPr>
      <dsp:spPr>
        <a:xfrm>
          <a:off x="0" y="2613985"/>
          <a:ext cx="10972800" cy="6533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Parameter </a:t>
          </a:r>
          <a:r>
            <a:rPr lang="en-US" sz="2800" b="1" kern="1200"/>
            <a:t>values</a:t>
          </a:r>
          <a:r>
            <a:rPr lang="en-US" sz="2800" kern="1200"/>
            <a:t> are tracked on the call stack</a:t>
          </a:r>
        </a:p>
      </dsp:txBody>
      <dsp:txXfrm>
        <a:off x="0" y="2613985"/>
        <a:ext cx="10972800" cy="653396"/>
      </dsp:txXfrm>
    </dsp:sp>
  </dsp:spTree>
</dsp:drawing>
</file>

<file path=ppt/diagrams/layout1.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05684E-CE90-40CE-9883-CC7E20345BF6}" type="datetimeFigureOut">
              <a:rPr lang="en-US"/>
              <a:t>4/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C4F2CA-1F88-40D1-864E-EE7DAE0EEF2E}" type="slidenum">
              <a:rPr lang="en-US"/>
              <a:t>‹#›</a:t>
            </a:fld>
            <a:endParaRPr lang="en-US"/>
          </a:p>
        </p:txBody>
      </p:sp>
    </p:spTree>
    <p:extLst>
      <p:ext uri="{BB962C8B-B14F-4D97-AF65-F5344CB8AC3E}">
        <p14:creationId xmlns:p14="http://schemas.microsoft.com/office/powerpoint/2010/main" val="1493328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4/18/2022</a:t>
            </a:fld>
            <a:endParaRPr lang="en-US"/>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r>
              <a:rPr lang="en-US"/>
              <a:t>Version: 12/10/2019 17:20:30</a:t>
            </a:r>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661903198"/>
      </p:ext>
    </p:extLst>
  </p:cSld>
  <p:clrMapOvr>
    <a:masterClrMapping/>
  </p:clrMapOvr>
</p:notes>
</file>

<file path=ppt/notesSlides/notesSlide1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200192657"/>
      </p:ext>
    </p:extLst>
  </p:cSld>
  <p:clrMapOvr>
    <a:masterClrMapping/>
  </p:clrMapOvr>
</p:notes>
</file>

<file path=ppt/notesSlides/notesSlide1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35762333"/>
      </p:ext>
    </p:extLst>
  </p:cSld>
  <p:clrMapOvr>
    <a:masterClrMapping/>
  </p:clrMapOvr>
</p:notes>
</file>

<file path=ppt/notesSlides/notesSlide1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2</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4/1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261232914"/>
      </p:ext>
    </p:extLst>
  </p:cSld>
  <p:clrMapOvr>
    <a:masterClrMapping/>
  </p:clrMapOvr>
</p:notes>
</file>

<file path=ppt/notesSlides/notesSlide1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3</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4/1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95881688"/>
      </p:ext>
    </p:extLst>
  </p:cSld>
  <p:clrMapOvr>
    <a:masterClrMapping/>
  </p:clrMapOvr>
</p:notes>
</file>

<file path=ppt/notesSlides/notesSlide1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4</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4/1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12508766"/>
      </p:ext>
    </p:extLst>
  </p:cSld>
  <p:clrMapOvr>
    <a:masterClrMapping/>
  </p:clrMapOvr>
</p:notes>
</file>

<file path=ppt/notesSlides/notesSlide1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581165359"/>
      </p:ext>
    </p:extLst>
  </p:cSld>
  <p:clrMapOvr>
    <a:masterClrMapping/>
  </p:clrMapOvr>
</p:notes>
</file>

<file path=ppt/notesSlides/notesSlide1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963986636"/>
      </p:ext>
    </p:extLst>
  </p:cSld>
  <p:clrMapOvr>
    <a:masterClrMapping/>
  </p:clrMapOvr>
</p:notes>
</file>

<file path=ppt/notesSlides/notesSlide1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110876658"/>
      </p:ext>
    </p:extLst>
  </p:cSld>
  <p:clrMapOvr>
    <a:masterClrMapping/>
  </p:clrMapOvr>
</p:notes>
</file>

<file path=ppt/notesSlides/notesSlide1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268142536"/>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4/18/2022</a:t>
            </a:fld>
            <a:endParaRPr lang="en-US"/>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750676743"/>
      </p:ext>
    </p:extLst>
  </p:cSld>
  <p:clrMapOvr>
    <a:masterClrMapping/>
  </p:clrMapOvr>
</p:notes>
</file>

<file path=ppt/notesSlides/notesSlide2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0</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4/1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616431076"/>
      </p:ext>
    </p:extLst>
  </p:cSld>
  <p:clrMapOvr>
    <a:masterClrMapping/>
  </p:clrMapOvr>
</p:notes>
</file>

<file path=ppt/notesSlides/notesSlide2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1</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4/1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682107476"/>
      </p:ext>
    </p:extLst>
  </p:cSld>
  <p:clrMapOvr>
    <a:masterClrMapping/>
  </p:clrMapOvr>
</p:notes>
</file>

<file path=ppt/notesSlides/notesSlide2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2</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4/1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37974454"/>
      </p:ext>
    </p:extLst>
  </p:cSld>
  <p:clrMapOvr>
    <a:masterClrMapping/>
  </p:clrMapOvr>
</p:notes>
</file>

<file path=ppt/notesSlides/notesSlide2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370132048"/>
      </p:ext>
    </p:extLst>
  </p:cSld>
  <p:clrMapOvr>
    <a:masterClrMapping/>
  </p:clrMapOvr>
</p:notes>
</file>

<file path=ppt/notesSlides/notesSlide2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467519187"/>
      </p:ext>
    </p:extLst>
  </p:cSld>
  <p:clrMapOvr>
    <a:masterClrMapping/>
  </p:clrMapOvr>
</p:notes>
</file>

<file path=ppt/notesSlides/notesSlide2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5</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4/1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71810376"/>
      </p:ext>
    </p:extLst>
  </p:cSld>
  <p:clrMapOvr>
    <a:masterClrMapping/>
  </p:clrMapOvr>
</p:notes>
</file>

<file path=ppt/notesSlides/notesSlide2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932262893"/>
      </p:ext>
    </p:extLst>
  </p:cSld>
  <p:clrMapOvr>
    <a:masterClrMapping/>
  </p:clrMapOvr>
</p:notes>
</file>

<file path=ppt/notesSlides/notesSlide2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785301523"/>
      </p:ext>
    </p:extLst>
  </p:cSld>
  <p:clrMapOvr>
    <a:masterClrMapping/>
  </p:clrMapOvr>
</p:notes>
</file>

<file path=ppt/notesSlides/notesSlide2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948967110"/>
      </p:ext>
    </p:extLst>
  </p:cSld>
  <p:clrMapOvr>
    <a:masterClrMapping/>
  </p:clrMapOvr>
</p:notes>
</file>

<file path=ppt/notesSlides/notesSlide2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09597849"/>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a:t>
            </a:fld>
            <a:endParaRPr lang="en-US"/>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fld id="{6B04ED27-04CC-48BC-859C-3E4A3D15A6DF}" type="datetime1">
              <a:rPr lang="en-US"/>
              <a:t>4/18/2022</a:t>
            </a:fld>
            <a:endParaRPr lang="en-US"/>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246782181"/>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tput adjusted to help show line word-wraps</a:t>
            </a:r>
          </a:p>
        </p:txBody>
      </p:sp>
    </p:spTree>
    <p:extLst>
      <p:ext uri="{BB962C8B-B14F-4D97-AF65-F5344CB8AC3E}">
        <p14:creationId xmlns:p14="http://schemas.microsoft.com/office/powerpoint/2010/main" val="1513761035"/>
      </p:ext>
    </p:extLst>
  </p:cSld>
  <p:clrMapOvr>
    <a:masterClrMapping/>
  </p:clrMapOvr>
</p:notes>
</file>

<file path=ppt/notesSlides/notesSlide3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695504703"/>
      </p:ext>
    </p:extLst>
  </p:cSld>
  <p:clrMapOvr>
    <a:masterClrMapping/>
  </p:clrMapOvr>
</p:notes>
</file>

<file path=ppt/notesSlides/notesSlide3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2</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4/1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2409871"/>
      </p:ext>
    </p:extLst>
  </p:cSld>
  <p:clrMapOvr>
    <a:masterClrMapping/>
  </p:clrMapOvr>
</p:notes>
</file>

<file path=ppt/notesSlides/notesSlide3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3</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4/1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66407721"/>
      </p:ext>
    </p:extLst>
  </p:cSld>
  <p:clrMapOvr>
    <a:masterClrMapping/>
  </p:clrMapOvr>
</p:notes>
</file>

<file path=ppt/notesSlides/notesSlide3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4</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4/1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449285447"/>
      </p:ext>
    </p:extLst>
  </p:cSld>
  <p:clrMapOvr>
    <a:masterClrMapping/>
  </p:clrMapOvr>
</p:notes>
</file>

<file path=ppt/notesSlides/notesSlide3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239386924"/>
      </p:ext>
    </p:extLst>
  </p:cSld>
  <p:clrMapOvr>
    <a:masterClrMapping/>
  </p:clrMapOvr>
</p:notes>
</file>

<file path=ppt/notesSlides/notesSlide3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6</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4/18/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729372123"/>
      </p:ext>
    </p:extLst>
  </p:cSld>
  <p:clrMapOvr>
    <a:masterClrMapping/>
  </p:clrMapOvr>
</p:notes>
</file>

<file path=ppt/notesSlides/notesSlide3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37</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4/18/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270684101"/>
      </p:ext>
    </p:extLst>
  </p:cSld>
  <p:clrMapOvr>
    <a:masterClrMapping/>
  </p:clrMapOvr>
</p:notes>
</file>

<file path=ppt/notesSlides/notesSlide3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smtClean="0"/>
              <a:pPr/>
              <a:t>38</a:t>
            </a:fld>
            <a:endParaRPr lang="en-US"/>
          </a:p>
        </p:txBody>
      </p:sp>
      <p:sp>
        <p:nvSpPr>
          <p:cNvPr id="5" name="Footer Placeholder 4"/>
          <p:cNvSpPr>
            <a:spLocks noGrp="1"/>
          </p:cNvSpPr>
          <p:nvPr>
            <p:ph type="ftr" sz="quarter" idx="11"/>
          </p:nvPr>
        </p:nvSpPr>
        <p:spPr/>
        <p:txBody>
          <a:bodyPr/>
          <a:lstStyle/>
          <a:p>
            <a:endParaRPr lang="en-US"/>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295706608"/>
      </p:ext>
    </p:extLst>
  </p:cSld>
  <p:clrMapOvr>
    <a:masterClrMapping/>
  </p:clrMapOvr>
</p:notes>
</file>

<file path=ppt/notesSlides/notesSlide3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39</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4/18/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808951900"/>
      </p:ext>
    </p:extLst>
  </p:cSld>
  <p:clrMapOvr>
    <a:masterClrMapping/>
  </p:clrMapOvr>
</p:notes>
</file>

<file path=ppt/notesSlides/notesSlide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4/1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460301370"/>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Footer Placeholder 3"/>
          <p:cNvSpPr>
            <a:spLocks noGrp="1"/>
          </p:cNvSpPr>
          <p:nvPr>
            <p:ph type="ftr" sz="quarter" idx="10"/>
          </p:nvPr>
        </p:nvSpPr>
        <p:spPr>
          <a:xfrm>
            <a:off x="0" y="8915400"/>
            <a:ext cx="4572000" cy="314033"/>
          </a:xfrm>
          <a:prstGeom prst="rect">
            <a:avLst/>
          </a:prstGeom>
        </p:spPr>
        <p:txBody>
          <a:bodyPr/>
          <a:lstStyle/>
          <a:p>
            <a:r>
              <a:rPr lang="en-US"/>
              <a:t>© 2011 Microsoft Corporation    	Microsoft Confidential</a:t>
            </a:r>
          </a:p>
        </p:txBody>
      </p:sp>
      <p:sp>
        <p:nvSpPr>
          <p:cNvPr id="5" name="Slide Number Placeholder 4"/>
          <p:cNvSpPr>
            <a:spLocks noGrp="1"/>
          </p:cNvSpPr>
          <p:nvPr>
            <p:ph type="sldNum" sz="quarter" idx="11"/>
          </p:nvPr>
        </p:nvSpPr>
        <p:spPr>
          <a:xfrm>
            <a:off x="5257800" y="8829967"/>
            <a:ext cx="1750978" cy="464820"/>
          </a:xfrm>
          <a:prstGeom prst="rect">
            <a:avLst/>
          </a:prstGeom>
        </p:spPr>
        <p:txBody>
          <a:bodyPr/>
          <a:lstStyle/>
          <a:p>
            <a:fld id="{89920E16-7E2D-4061-8759-5F8497A7A433}" type="slidenum">
              <a:rPr lang="en-US"/>
              <a:pPr/>
              <a:t>5</a:t>
            </a:fld>
            <a:endParaRPr lang="en-US"/>
          </a:p>
        </p:txBody>
      </p:sp>
    </p:spTree>
    <p:extLst>
      <p:ext uri="{BB962C8B-B14F-4D97-AF65-F5344CB8AC3E}">
        <p14:creationId xmlns:p14="http://schemas.microsoft.com/office/powerpoint/2010/main" val="963505200"/>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0CC4F2CA-1F88-40D1-864E-EE7DAE0EEF2E}" type="slidenum">
              <a:rPr lang="en-US" smtClean="0"/>
              <a:t>6</a:t>
            </a:fld>
            <a:endParaRPr lang="en-US"/>
          </a:p>
        </p:txBody>
      </p:sp>
    </p:spTree>
    <p:extLst>
      <p:ext uri="{BB962C8B-B14F-4D97-AF65-F5344CB8AC3E}">
        <p14:creationId xmlns:p14="http://schemas.microsoft.com/office/powerpoint/2010/main" val="2810830816"/>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0CC4F2CA-1F88-40D1-864E-EE7DAE0EEF2E}" type="slidenum">
              <a:rPr lang="en-US" smtClean="0"/>
              <a:t>7</a:t>
            </a:fld>
            <a:endParaRPr lang="en-US"/>
          </a:p>
        </p:txBody>
      </p:sp>
    </p:spTree>
    <p:extLst>
      <p:ext uri="{BB962C8B-B14F-4D97-AF65-F5344CB8AC3E}">
        <p14:creationId xmlns:p14="http://schemas.microsoft.com/office/powerpoint/2010/main" val="1542412651"/>
      </p:ext>
    </p:extLst>
  </p:cSld>
  <p:clrMapOvr>
    <a:masterClrMapping/>
  </p:clrMapOvr>
</p:notes>
</file>

<file path=ppt/notesSlides/notesSlide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8</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4/18/2022</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141364816"/>
      </p:ext>
    </p:extLst>
  </p:cSld>
  <p:clrMapOvr>
    <a:masterClrMapping/>
  </p:clrMapOvr>
</p:notes>
</file>

<file path=ppt/notesSlides/notesSlide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F6F6BE6-3C4D-4FD7-AB80-C43A68FDE6FB}"/>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04ED27-04CC-48BC-859C-3E4A3D15A6DF}"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DCC766BB-84D2-43E9-9435-C97994397C5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C9491343-8D0A-49E1-9C41-9405EFB743E1}"/>
              </a:ext>
            </a:extLst>
          </p:cNvPr>
          <p:cNvSpPr>
            <a:spLocks noGrp="1"/>
          </p:cNvSpPr>
          <p:nvPr>
            <p:ph type="body" idx="1"/>
          </p:nvPr>
        </p:nvSpPr>
        <p:spPr>
          <a:xfrm>
            <a:off x="685800" y="4400550"/>
            <a:ext cx="5486400" cy="3600450"/>
          </a:xfrm>
          <a:prstGeom prst="rect">
            <a:avLst/>
          </a:prstGeom>
        </p:spPr>
      </p:sp>
      <p:sp>
        <p:nvSpPr>
          <p:cNvPr id="5" name="Header Placeholder 4">
            <a:extLst>
              <a:ext uri="{FF2B5EF4-FFF2-40B4-BE49-F238E27FC236}">
                <a16:creationId xmlns:a16="http://schemas.microsoft.com/office/drawing/2014/main" id="{A3E9B84D-630D-4FEE-91E9-0E1DDBEEFED7}"/>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3372152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 Select Logo</a:t>
            </a:r>
          </a:p>
        </p:txBody>
      </p:sp>
    </p:spTree>
    <p:extLst>
      <p:ext uri="{BB962C8B-B14F-4D97-AF65-F5344CB8AC3E}">
        <p14:creationId xmlns:p14="http://schemas.microsoft.com/office/powerpoint/2010/main" val="1574735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288610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5586894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235372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9881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956006015"/>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041973393"/>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92599025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Tree>
    <p:extLst>
      <p:ext uri="{BB962C8B-B14F-4D97-AF65-F5344CB8AC3E}">
        <p14:creationId xmlns:p14="http://schemas.microsoft.com/office/powerpoint/2010/main" val="72371837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13260570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2093123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Tree>
    <p:extLst>
      <p:ext uri="{BB962C8B-B14F-4D97-AF65-F5344CB8AC3E}">
        <p14:creationId xmlns:p14="http://schemas.microsoft.com/office/powerpoint/2010/main" val="38856620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0001320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9192219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289219890"/>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0906965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5893505"/>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22308615"/>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4511836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2243868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2539553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1380699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6663590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9734284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3958076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8370940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3172714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487408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48403680"/>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26558007"/>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8306011"/>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98588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9241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60004715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707476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640633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03275618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244927701"/>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849808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4112642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11744470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6756895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2524671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7600653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28948186"/>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2.xml"/><Relationship Id="rId1" Type="http://schemas.openxmlformats.org/officeDocument/2006/relationships/tags" Target="../tags/tag6.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10.xml"/><Relationship Id="rId7" Type="http://schemas.openxmlformats.org/officeDocument/2006/relationships/diagramColors" Target="../diagrams/colors6.xml"/><Relationship Id="rId2" Type="http://schemas.openxmlformats.org/officeDocument/2006/relationships/slideLayout" Target="../slideLayouts/slideLayout8.xml"/><Relationship Id="rId1" Type="http://schemas.openxmlformats.org/officeDocument/2006/relationships/tags" Target="../tags/tag13.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 Id="rId9"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33.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4.jpe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5.jpe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5.xml"/><Relationship Id="rId1" Type="http://schemas.openxmlformats.org/officeDocument/2006/relationships/tags" Target="../tags/tag20.xml"/><Relationship Id="rId4" Type="http://schemas.openxmlformats.org/officeDocument/2006/relationships/notesSlide" Target="../notesSlides/notesSlide14.xml"/></Relationships>
</file>

<file path=ppt/slides/_rels/slide15.xml.rels>&#65279;<?xml version="1.0" encoding="utf-8"?><Relationships xmlns="http://schemas.openxmlformats.org/package/2006/relationships"><Relationship Type="http://schemas.openxmlformats.org/officeDocument/2006/relationships/diagramColors" Target="../diagrams/colors7.xml" Id="rId8" /><Relationship Type="http://schemas.openxmlformats.org/officeDocument/2006/relationships/notesSlide" Target="../notesSlides/notesSlide15.xml" Id="rId3" /><Relationship Type="http://schemas.openxmlformats.org/officeDocument/2006/relationships/diagramQuickStyle" Target="../diagrams/quickStyle7.xml" Id="rId7" /><Relationship Type="http://schemas.openxmlformats.org/officeDocument/2006/relationships/slideLayout" Target="../slideLayouts/slideLayout8.xml" Id="rId2" /><Relationship Type="http://schemas.openxmlformats.org/officeDocument/2006/relationships/tags" Target="../tags/tag21.xml" Id="rId1" /><Relationship Type="http://schemas.openxmlformats.org/officeDocument/2006/relationships/diagramLayout" Target="../diagrams/layout7.xml" Id="rId6" /><Relationship Type="http://schemas.openxmlformats.org/officeDocument/2006/relationships/diagramData" Target="../diagrams/data7.xml" Id="rId5" /><Relationship Type="http://schemas.microsoft.com/office/2007/relationships/diagramDrawing" Target="../diagrams/drawing7.xml" Id="rId9" /></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slideLayout" Target="../slideLayouts/slideLayout8.xml"/><Relationship Id="rId7" Type="http://schemas.openxmlformats.org/officeDocument/2006/relationships/diagramQuickStyle" Target="../diagrams/quickStyle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notesSlide" Target="../notesSlides/notesSlide17.xml"/><Relationship Id="rId9" Type="http://schemas.microsoft.com/office/2007/relationships/diagramDrawing" Target="../diagrams/drawing9.xml"/></Relationships>
</file>

<file path=ppt/slides/_rels/slide1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notesSlide" Target="../notesSlides/notesSlide18.xml"/><Relationship Id="rId4"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9.xml"/><Relationship Id="rId1" Type="http://schemas.openxmlformats.org/officeDocument/2006/relationships/tags" Target="../tags/tag28.xml"/><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34.jpe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35.jpe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5.xml"/><Relationship Id="rId1" Type="http://schemas.openxmlformats.org/officeDocument/2006/relationships/tags" Target="../tags/tag34.xml"/><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23.xml"/><Relationship Id="rId7" Type="http://schemas.openxmlformats.org/officeDocument/2006/relationships/diagramColors" Target="../diagrams/colors10.xml"/><Relationship Id="rId2" Type="http://schemas.openxmlformats.org/officeDocument/2006/relationships/slideLayout" Target="../slideLayouts/slideLayout8.xml"/><Relationship Id="rId1" Type="http://schemas.openxmlformats.org/officeDocument/2006/relationships/tags" Target="../tags/tag35.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24.xml.rels><?xml version="1.0" encoding="UTF-8" standalone="yes"?>
<Relationships xmlns="http://schemas.openxmlformats.org/package/2006/relationships"><Relationship Id="rId8" Type="http://schemas.openxmlformats.org/officeDocument/2006/relationships/diagramColors" Target="../diagrams/colors11.xml"/><Relationship Id="rId3" Type="http://schemas.openxmlformats.org/officeDocument/2006/relationships/slideLayout" Target="../slideLayouts/slideLayout8.xml"/><Relationship Id="rId7" Type="http://schemas.openxmlformats.org/officeDocument/2006/relationships/diagramQuickStyle" Target="../diagrams/quickStyle1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diagramLayout" Target="../diagrams/layout11.xml"/><Relationship Id="rId5" Type="http://schemas.openxmlformats.org/officeDocument/2006/relationships/diagramData" Target="../diagrams/data11.xml"/><Relationship Id="rId4" Type="http://schemas.openxmlformats.org/officeDocument/2006/relationships/notesSlide" Target="../notesSlides/notesSlide24.xml"/><Relationship Id="rId9" Type="http://schemas.microsoft.com/office/2007/relationships/diagramDrawing" Target="../diagrams/drawing1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xml"/><Relationship Id="rId1" Type="http://schemas.openxmlformats.org/officeDocument/2006/relationships/tags" Target="../tags/tag38.xml"/><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notesSlide" Target="../notesSlides/notesSlide26.xml"/><Relationship Id="rId7" Type="http://schemas.openxmlformats.org/officeDocument/2006/relationships/diagramColors" Target="../diagrams/colors12.xml"/><Relationship Id="rId2" Type="http://schemas.openxmlformats.org/officeDocument/2006/relationships/slideLayout" Target="../slideLayouts/slideLayout8.xml"/><Relationship Id="rId1" Type="http://schemas.openxmlformats.org/officeDocument/2006/relationships/tags" Target="../tags/tag39.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s>
</file>

<file path=ppt/slides/_rels/slide27.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notesSlide" Target="../notesSlides/notesSlide27.xml"/><Relationship Id="rId7" Type="http://schemas.openxmlformats.org/officeDocument/2006/relationships/diagramColors" Target="../diagrams/colors13.xml"/><Relationship Id="rId2" Type="http://schemas.openxmlformats.org/officeDocument/2006/relationships/slideLayout" Target="../slideLayouts/slideLayout8.xml"/><Relationship Id="rId1" Type="http://schemas.openxmlformats.org/officeDocument/2006/relationships/tags" Target="../tags/tag40.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microsoft.com/office/2007/relationships/diagramDrawing" Target="../diagrams/drawing14.xml"/><Relationship Id="rId3" Type="http://schemas.openxmlformats.org/officeDocument/2006/relationships/notesSlide" Target="../notesSlides/notesSlide29.xml"/><Relationship Id="rId7" Type="http://schemas.openxmlformats.org/officeDocument/2006/relationships/diagramColors" Target="../diagrams/colors14.xml"/><Relationship Id="rId2" Type="http://schemas.openxmlformats.org/officeDocument/2006/relationships/slideLayout" Target="../slideLayouts/slideLayout8.xml"/><Relationship Id="rId1" Type="http://schemas.openxmlformats.org/officeDocument/2006/relationships/tags" Target="../tags/tag43.xml"/><Relationship Id="rId6" Type="http://schemas.openxmlformats.org/officeDocument/2006/relationships/diagramQuickStyle" Target="../diagrams/quickStyle14.xml"/><Relationship Id="rId5" Type="http://schemas.openxmlformats.org/officeDocument/2006/relationships/diagramLayout" Target="../diagrams/layout14.xml"/><Relationship Id="rId4" Type="http://schemas.openxmlformats.org/officeDocument/2006/relationships/diagramData" Target="../diagrams/data14.xml"/></Relationships>
</file>

<file path=ppt/slides/_rels/slide3.xml.rels>&#65279;<?xml version="1.0" encoding="utf-8"?><Relationships xmlns="http://schemas.openxmlformats.org/package/2006/relationships"><Relationship Type="http://schemas.openxmlformats.org/officeDocument/2006/relationships/diagramColors" Target="../diagrams/colors1.xml" Id="rId8" /><Relationship Type="http://schemas.openxmlformats.org/officeDocument/2006/relationships/notesSlide" Target="../notesSlides/notesSlide3.xml" Id="rId3" /><Relationship Type="http://schemas.openxmlformats.org/officeDocument/2006/relationships/diagramQuickStyle" Target="../diagrams/quickStyle1.xml" Id="rId7" /><Relationship Type="http://schemas.openxmlformats.org/officeDocument/2006/relationships/slideLayout" Target="../slideLayouts/slideLayout8.xml" Id="rId2" /><Relationship Type="http://schemas.openxmlformats.org/officeDocument/2006/relationships/tags" Target="../tags/tag8.xml" Id="rId1" /><Relationship Type="http://schemas.openxmlformats.org/officeDocument/2006/relationships/diagramLayout" Target="../diagrams/layout1.xml" Id="rId6" /><Relationship Type="http://schemas.openxmlformats.org/officeDocument/2006/relationships/diagramData" Target="../diagrams/data1.xml" Id="rId5" /><Relationship Type="http://schemas.microsoft.com/office/2007/relationships/diagramDrawing" Target="../diagrams/drawing1.xml" Id="rId9" /></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diagramQuickStyle" Target="../diagrams/quickStyle15.xml"/><Relationship Id="rId3" Type="http://schemas.openxmlformats.org/officeDocument/2006/relationships/tags" Target="../tags/tag48.xml"/><Relationship Id="rId7" Type="http://schemas.openxmlformats.org/officeDocument/2006/relationships/diagramLayout" Target="../diagrams/layout15.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diagramData" Target="../diagrams/data15.xml"/><Relationship Id="rId5" Type="http://schemas.openxmlformats.org/officeDocument/2006/relationships/notesSlide" Target="../notesSlides/notesSlide31.xml"/><Relationship Id="rId10" Type="http://schemas.microsoft.com/office/2007/relationships/diagramDrawing" Target="../diagrams/drawing15.xml"/><Relationship Id="rId4" Type="http://schemas.openxmlformats.org/officeDocument/2006/relationships/slideLayout" Target="../slideLayouts/slideLayout8.xml"/><Relationship Id="rId9" Type="http://schemas.openxmlformats.org/officeDocument/2006/relationships/diagramColors" Target="../diagrams/colors1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34.jpe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35.jpeg"/><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3.xml"/><Relationship Id="rId1" Type="http://schemas.openxmlformats.org/officeDocument/2006/relationships/tags" Target="../tags/tag53.xml"/><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35.xml"/><Relationship Id="rId7" Type="http://schemas.openxmlformats.org/officeDocument/2006/relationships/diagramColors" Target="../diagrams/colors16.xml"/><Relationship Id="rId2" Type="http://schemas.openxmlformats.org/officeDocument/2006/relationships/slideLayout" Target="../slideLayouts/slideLayout8.xml"/><Relationship Id="rId1" Type="http://schemas.openxmlformats.org/officeDocument/2006/relationships/tags" Target="../tags/tag54.xml"/><Relationship Id="rId6" Type="http://schemas.openxmlformats.org/officeDocument/2006/relationships/diagramQuickStyle" Target="../diagrams/quickStyle16.xml"/><Relationship Id="rId5" Type="http://schemas.openxmlformats.org/officeDocument/2006/relationships/diagramLayout" Target="../diagrams/layout16.xml"/><Relationship Id="rId10" Type="http://schemas.openxmlformats.org/officeDocument/2006/relationships/image" Target="../media/image45.png"/><Relationship Id="rId4" Type="http://schemas.openxmlformats.org/officeDocument/2006/relationships/diagramData" Target="../diagrams/data16.xml"/><Relationship Id="rId9" Type="http://schemas.openxmlformats.org/officeDocument/2006/relationships/image" Target="../media/image44.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34.jpeg"/><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35.jpeg"/><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46.png"/><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3.xml"/><Relationship Id="rId1" Type="http://schemas.openxmlformats.org/officeDocument/2006/relationships/tags" Target="../tags/tag6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19.xml"/><Relationship Id="rId1" Type="http://schemas.openxmlformats.org/officeDocument/2006/relationships/tags" Target="../tags/tag9.xm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microsoft.com/office/2007/relationships/diagramDrawing" Target="../diagrams/drawing2.xml"/><Relationship Id="rId13" Type="http://schemas.microsoft.com/office/2007/relationships/diagramDrawing" Target="../diagrams/drawing3.xml"/><Relationship Id="rId3" Type="http://schemas.openxmlformats.org/officeDocument/2006/relationships/notesSlide" Target="../notesSlides/notesSlide5.xml"/><Relationship Id="rId7" Type="http://schemas.openxmlformats.org/officeDocument/2006/relationships/diagramColors" Target="../diagrams/colors2.xml"/><Relationship Id="rId12" Type="http://schemas.openxmlformats.org/officeDocument/2006/relationships/diagramColors" Target="../diagrams/colors3.xml"/><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diagramQuickStyle" Target="../diagrams/quickStyle2.xml"/><Relationship Id="rId11" Type="http://schemas.openxmlformats.org/officeDocument/2006/relationships/diagramQuickStyle" Target="../diagrams/quickStyle3.xml"/><Relationship Id="rId5" Type="http://schemas.openxmlformats.org/officeDocument/2006/relationships/diagramLayout" Target="../diagrams/layout2.xml"/><Relationship Id="rId10" Type="http://schemas.openxmlformats.org/officeDocument/2006/relationships/diagramLayout" Target="../diagrams/layout3.xml"/><Relationship Id="rId4" Type="http://schemas.openxmlformats.org/officeDocument/2006/relationships/diagramData" Target="../diagrams/data2.xml"/><Relationship Id="rId9" Type="http://schemas.openxmlformats.org/officeDocument/2006/relationships/diagramData" Target="../diagrams/data3.xml"/></Relationships>
</file>

<file path=ppt/slides/_rels/slide6.xml.rels>&#65279;<?xml version="1.0" encoding="utf-8"?><Relationships xmlns="http://schemas.openxmlformats.org/package/2006/relationships"><Relationship Type="http://schemas.openxmlformats.org/officeDocument/2006/relationships/notesSlide" Target="../notesSlides/notesSlide6.xml" Id="rId2" /><Relationship Type="http://schemas.openxmlformats.org/officeDocument/2006/relationships/slideLayout" Target="../slideLayouts/slideLayout9.xml" Id="rId1" /><Relationship Type="http://schemas.openxmlformats.org/officeDocument/2006/relationships/image" Target="../media/image25.png" Id="rId5" /><Relationship Type="http://schemas.openxmlformats.org/officeDocument/2006/relationships/image" Target="../media/image24.png" Id="rId4" /></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8.xml"/><Relationship Id="rId1" Type="http://schemas.openxmlformats.org/officeDocument/2006/relationships/tags" Target="../tags/tag11.xml"/><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3" Type="http://schemas.openxmlformats.org/officeDocument/2006/relationships/notesSlide" Target="../notesSlides/notesSlide9.xml"/><Relationship Id="rId7" Type="http://schemas.openxmlformats.org/officeDocument/2006/relationships/diagramColors" Target="../diagrams/colors4.xml"/><Relationship Id="rId12" Type="http://schemas.openxmlformats.org/officeDocument/2006/relationships/diagramColors" Target="../diagrams/colors5.xml"/><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0" Type="http://schemas.openxmlformats.org/officeDocument/2006/relationships/diagramLayout" Target="../diagrams/layout5.xml"/><Relationship Id="rId4" Type="http://schemas.openxmlformats.org/officeDocument/2006/relationships/diagramData" Target="../diagrams/data4.xml"/><Relationship Id="rId9" Type="http://schemas.openxmlformats.org/officeDocument/2006/relationships/diagramData" Target="../diagrams/data5.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2">
    <p:spTree>
      <p:nvGrpSpPr>
        <p:cNvPr id="1" name=""/>
        <p:cNvGrpSpPr/>
        <p:nvPr/>
      </p:nvGrpSpPr>
      <p:grpSpPr>
        <a:xfrm>
          <a:off x="0" y="0"/>
          <a:ext cx="0" cy="0"/>
          <a:chOff x="0" y="0"/>
          <a:chExt cx="0" cy="0"/>
        </a:xfrm>
      </p:grpSpPr>
      <p:sp>
        <p:nvSpPr>
          <p:cNvPr id="6" name="Title 1"/>
          <p:cNvSpPr>
            <a:spLocks noGrp="1"/>
          </p:cNvSpPr>
          <p:nvPr>
            <p:ph type="title"/>
            <p:custDataLst>
              <p:custData r:id="rId2"/>
            </p:custDataLst>
          </p:nvPr>
        </p:nvSpPr>
        <p:spPr/>
        <p:txBody>
          <a:bodyPr lIns="0" tIns="0" rIns="0" bIns="45720" anchor="b"/>
          <a:lstStyle/>
          <a:p>
            <a:r>
              <a:rPr lang="en-US">
                <a:latin typeface="Segoe UI Semibold" panose="020B0702040204020203" pitchFamily="34" charset="0"/>
              </a:rPr>
              <a:t>Debugging</a:t>
            </a:r>
          </a:p>
        </p:txBody>
      </p:sp>
      <p:sp>
        <p:nvSpPr>
          <p:cNvPr id="4" name="Subtitle 3">
            <a:extLst>
              <a:ext uri="{FF2B5EF4-FFF2-40B4-BE49-F238E27FC236}">
                <a16:creationId xmlns:a16="http://schemas.microsoft.com/office/drawing/2014/main" id="{6FB2AE27-5244-4635-A116-42CC8AA93432}"/>
              </a:ext>
            </a:extLst>
          </p:cNvPr>
          <p:cNvSpPr>
            <a:spLocks noGrp="1"/>
          </p:cNvSpPr>
          <p:nvPr>
            <p:ph type="subTitle" idx="1"/>
          </p:nvPr>
        </p:nvSpPr>
        <p:spPr/>
        <p:txBody>
          <a:bodyPr>
            <a:normAutofit lnSpcReduction="10000"/>
          </a:bodyPr>
          <a:lstStyle/>
          <a:p>
            <a:r>
              <a:rPr lang="en-US"/>
              <a:t>Module 6</a:t>
            </a:r>
          </a:p>
        </p:txBody>
      </p:sp>
    </p:spTree>
    <p:custDataLst>
      <p:tags r:id="rId1"/>
    </p:custDataLst>
    <p:extLst>
      <p:ext uri="{BB962C8B-B14F-4D97-AF65-F5344CB8AC3E}">
        <p14:creationId xmlns:p14="http://schemas.microsoft.com/office/powerpoint/2010/main" val="4112340842"/>
      </p:ext>
    </p:extLst>
  </p:cSld>
  <p:clrMapOvr>
    <a:masterClrMapping/>
  </p:clrMapOvr>
  <p:transition spd="slow"/>
</p:sld>
</file>

<file path=ppt/slides/slide1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Managing Breakpoints</a:t>
            </a:r>
          </a:p>
        </p:txBody>
      </p:sp>
      <p:graphicFrame>
        <p:nvGraphicFramePr>
          <p:cNvPr id="3" name="Diagram 2">
            <a:extLst>
              <a:ext uri="{FF2B5EF4-FFF2-40B4-BE49-F238E27FC236}">
                <a16:creationId xmlns:a16="http://schemas.microsoft.com/office/drawing/2014/main" id="{7A95B8D9-10B5-4AF2-AAE1-B4F779365041}"/>
              </a:ext>
            </a:extLst>
          </p:cNvPr>
          <p:cNvGraphicFramePr/>
          <p:nvPr>
            <p:extLst>
              <p:ext uri="{D42A27DB-BD31-4B8C-83A1-F6EECF244321}">
                <p14:modId xmlns:p14="http://schemas.microsoft.com/office/powerpoint/2010/main" val="1674620019"/>
              </p:ext>
            </p:extLst>
          </p:nvPr>
        </p:nvGraphicFramePr>
        <p:xfrm>
          <a:off x="655637" y="1003853"/>
          <a:ext cx="4830763" cy="539694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5" name="Picture 4">
            <a:extLst>
              <a:ext uri="{FF2B5EF4-FFF2-40B4-BE49-F238E27FC236}">
                <a16:creationId xmlns:a16="http://schemas.microsoft.com/office/drawing/2014/main" id="{8FFE7036-C1C1-4594-B17F-488492D48809}"/>
              </a:ext>
            </a:extLst>
          </p:cNvPr>
          <p:cNvPicPr>
            <a:picLocks noChangeAspect="1"/>
          </p:cNvPicPr>
          <p:nvPr/>
        </p:nvPicPr>
        <p:blipFill>
          <a:blip r:embed="rId9"/>
          <a:stretch>
            <a:fillRect/>
          </a:stretch>
        </p:blipFill>
        <p:spPr>
          <a:xfrm>
            <a:off x="5863704" y="1097219"/>
            <a:ext cx="6029369" cy="5210213"/>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2829815452"/>
      </p:ext>
    </p:extLst>
  </p:cSld>
  <p:clrMapOvr>
    <a:masterClrMapping/>
  </p:clrMapOvr>
  <p:transition spd="slow"/>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Breakpoint Cmdlets</a:t>
            </a:r>
          </a:p>
        </p:txBody>
      </p:sp>
      <p:sp>
        <p:nvSpPr>
          <p:cNvPr id="3" name="Code Box">
            <a:extLst>
              <a:ext uri="{FF2B5EF4-FFF2-40B4-BE49-F238E27FC236}">
                <a16:creationId xmlns:a16="http://schemas.microsoft.com/office/drawing/2014/main" id="{693C9892-B118-48B9-8360-6167205C0EC0}"/>
              </a:ext>
            </a:extLst>
          </p:cNvPr>
          <p:cNvSpPr/>
          <p:nvPr>
            <p:custDataLst>
              <p:tags r:id="rId2"/>
            </p:custDataLst>
          </p:nvPr>
        </p:nvSpPr>
        <p:spPr>
          <a:xfrm>
            <a:off x="640080" y="1005839"/>
            <a:ext cx="10972800" cy="5486400"/>
          </a:xfrm>
          <a:prstGeom prst="rect">
            <a:avLst/>
          </a:prstGeom>
          <a:solidFill>
            <a:srgbClr val="012456"/>
          </a:solidFill>
        </p:spPr>
        <p:txBody>
          <a:bodyPr wrap="square" tIns="91440" bIns="91440">
            <a:noAutofit/>
          </a:bodyPr>
          <a:lstStyle/>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Set-</a:t>
            </a:r>
            <a:r>
              <a:rPr lang="en-US" sz="1800" err="1">
                <a:solidFill>
                  <a:srgbClr val="E0FFFF"/>
                </a:solidFill>
                <a:latin typeface="Lucida Console" panose="020B0609040504020204" pitchFamily="49" charset="0"/>
              </a:rPr>
              <a:t>PSBreakpoint</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Script</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mp.ps1</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Command</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Start-Service</a:t>
            </a:r>
          </a:p>
          <a:p>
            <a:endParaRPr lang="en-US">
              <a:solidFill>
                <a:srgbClr val="EE82EE"/>
              </a:solidFill>
              <a:latin typeface="Lucida Console" panose="020B0609040504020204" pitchFamily="49" charset="0"/>
            </a:endParaRPr>
          </a:p>
          <a:p>
            <a:r>
              <a:rPr lang="en-US" sz="1800">
                <a:solidFill>
                  <a:srgbClr val="F5F5F5"/>
                </a:solidFill>
                <a:latin typeface="Lucida Console" panose="020B0609040504020204" pitchFamily="49" charset="0"/>
              </a:rPr>
              <a:t>PS&gt;</a:t>
            </a:r>
            <a:r>
              <a:rPr lang="en-US" sz="1800">
                <a:solidFill>
                  <a:srgbClr val="EE82EE"/>
                </a:solidFill>
                <a:latin typeface="Lucida Console" panose="020B0609040504020204" pitchFamily="49" charset="0"/>
              </a:rPr>
              <a:t> </a:t>
            </a:r>
            <a:r>
              <a:rPr lang="en-US" sz="1800">
                <a:solidFill>
                  <a:srgbClr val="E0FFFF"/>
                </a:solidFill>
                <a:latin typeface="Lucida Console" panose="020B0609040504020204" pitchFamily="49" charset="0"/>
              </a:rPr>
              <a:t>Set-</a:t>
            </a:r>
            <a:r>
              <a:rPr lang="en-US" sz="1800" err="1">
                <a:solidFill>
                  <a:srgbClr val="E0FFFF"/>
                </a:solidFill>
                <a:latin typeface="Lucida Console" panose="020B0609040504020204" pitchFamily="49" charset="0"/>
              </a:rPr>
              <a:t>PSBreakpoint</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Script</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temp.ps1</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Variable</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x </a:t>
            </a:r>
          </a:p>
          <a:p>
            <a:endParaRPr lang="en-US">
              <a:solidFill>
                <a:srgbClr val="EE82EE"/>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Get-</a:t>
            </a:r>
            <a:r>
              <a:rPr lang="en-US" sz="1800" err="1">
                <a:solidFill>
                  <a:srgbClr val="E0FFFF"/>
                </a:solidFill>
                <a:latin typeface="Lucida Console" panose="020B0609040504020204" pitchFamily="49" charset="0"/>
              </a:rPr>
              <a:t>PSBreakpoint</a:t>
            </a:r>
            <a:endParaRPr lang="en-US" sz="1800">
              <a:solidFill>
                <a:srgbClr val="EE82EE"/>
              </a:solidFill>
              <a:latin typeface="Lucida Console" panose="020B0609040504020204" pitchFamily="49" charset="0"/>
            </a:endParaRPr>
          </a:p>
          <a:p>
            <a:endParaRPr lang="en-US">
              <a:solidFill>
                <a:srgbClr val="EE82EE"/>
              </a:solidFill>
              <a:latin typeface="Lucida Console" panose="020B0609040504020204" pitchFamily="49" charset="0"/>
            </a:endParaRPr>
          </a:p>
          <a:p>
            <a:r>
              <a:rPr lang="en-US" sz="1800">
                <a:solidFill>
                  <a:srgbClr val="F5F5F5"/>
                </a:solidFill>
                <a:latin typeface="Lucida Console" panose="020B0609040504020204" pitchFamily="49" charset="0"/>
              </a:rPr>
              <a:t>ID Script   Line Command       Variable Action</a:t>
            </a:r>
          </a:p>
          <a:p>
            <a:r>
              <a:rPr lang="en-US" sz="1800">
                <a:solidFill>
                  <a:srgbClr val="F5F5F5"/>
                </a:solidFill>
                <a:latin typeface="Lucida Console" panose="020B0609040504020204" pitchFamily="49" charset="0"/>
              </a:rPr>
              <a:t>-- ------   ---- -------       -------- ------</a:t>
            </a:r>
          </a:p>
          <a:p>
            <a:r>
              <a:rPr lang="en-US" sz="1800">
                <a:solidFill>
                  <a:srgbClr val="F5F5F5"/>
                </a:solidFill>
                <a:latin typeface="Lucida Console" panose="020B0609040504020204" pitchFamily="49" charset="0"/>
              </a:rPr>
              <a:t> 9 Temp.ps1      Start-Service                </a:t>
            </a:r>
          </a:p>
          <a:p>
            <a:r>
              <a:rPr lang="en-US" sz="1800">
                <a:solidFill>
                  <a:srgbClr val="F5F5F5"/>
                </a:solidFill>
                <a:latin typeface="Lucida Console" panose="020B0609040504020204" pitchFamily="49" charset="0"/>
              </a:rPr>
              <a:t>10 Temp.ps1    6                              </a:t>
            </a:r>
          </a:p>
          <a:p>
            <a:r>
              <a:rPr lang="en-US" sz="1800">
                <a:solidFill>
                  <a:srgbClr val="F5F5F5"/>
                </a:solidFill>
                <a:latin typeface="Lucida Console" panose="020B0609040504020204" pitchFamily="49" charset="0"/>
              </a:rPr>
              <a:t>11 Temp.ps1   10                              </a:t>
            </a:r>
          </a:p>
          <a:p>
            <a:r>
              <a:rPr lang="en-US" sz="1800">
                <a:solidFill>
                  <a:srgbClr val="F5F5F5"/>
                </a:solidFill>
                <a:latin typeface="Lucida Console" panose="020B0609040504020204" pitchFamily="49" charset="0"/>
              </a:rPr>
              <a:t>12 Temp.ps1                    x          </a:t>
            </a:r>
          </a:p>
          <a:p>
            <a:endParaRPr lang="en-US">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Temp.ps1</a:t>
            </a:r>
          </a:p>
          <a:p>
            <a:endParaRPr lang="en-US">
              <a:solidFill>
                <a:srgbClr val="F5F5F5"/>
              </a:solidFill>
              <a:latin typeface="Lucida Console" panose="020B0609040504020204" pitchFamily="49" charset="0"/>
            </a:endParaRPr>
          </a:p>
          <a:p>
            <a:r>
              <a:rPr lang="en-US" sz="1800">
                <a:solidFill>
                  <a:srgbClr val="00FFFF"/>
                </a:solidFill>
                <a:latin typeface="Lucida Console" panose="020B0609040504020204" pitchFamily="49" charset="0"/>
              </a:rPr>
              <a:t>Hit Variable breakpoint on 'C:\ps1\temp.ps1:$x' (Write access)</a:t>
            </a:r>
          </a:p>
          <a:p>
            <a:endParaRPr lang="en-US" sz="1800">
              <a:solidFill>
                <a:srgbClr val="00FFFF"/>
              </a:solidFill>
              <a:latin typeface="Lucida Console" panose="020B0609040504020204" pitchFamily="49" charset="0"/>
            </a:endParaRPr>
          </a:p>
          <a:p>
            <a:r>
              <a:rPr lang="en-US" sz="1800">
                <a:solidFill>
                  <a:srgbClr val="F5F5F5"/>
                </a:solidFill>
                <a:latin typeface="Lucida Console" panose="020B0609040504020204" pitchFamily="49" charset="0"/>
              </a:rPr>
              <a:t>[DBG] PS&gt;</a:t>
            </a:r>
            <a:endParaRPr lang="en-US">
              <a:solidFill>
                <a:srgbClr val="EE82EE"/>
              </a:solidFill>
              <a:latin typeface="Lucida Console" panose="020B0609040504020204" pitchFamily="49" charset="0"/>
            </a:endParaRPr>
          </a:p>
          <a:p>
            <a:r>
              <a:rPr lang="en-US" sz="1800">
                <a:solidFill>
                  <a:srgbClr val="00FFFF"/>
                </a:solidFill>
                <a:latin typeface="Lucida Console" panose="020B0609040504020204" pitchFamily="49" charset="0"/>
              </a:rPr>
              <a:t> </a:t>
            </a:r>
            <a:endParaRPr lang="en-US" sz="1800">
              <a:solidFill>
                <a:srgbClr val="EE82EE"/>
              </a:solidFill>
              <a:latin typeface="Lucida Console" panose="020B0609040504020204" pitchFamily="49" charset="0"/>
            </a:endParaRPr>
          </a:p>
          <a:p>
            <a:endParaRPr lang="en-US">
              <a:solidFill>
                <a:srgbClr val="EE82EE"/>
              </a:solidFill>
              <a:latin typeface="Lucida Console" panose="020B0609040504020204" pitchFamily="49" charset="0"/>
            </a:endParaRPr>
          </a:p>
        </p:txBody>
      </p:sp>
      <p:sp>
        <p:nvSpPr>
          <p:cNvPr id="4" name="Rectangle 3">
            <a:extLst>
              <a:ext uri="{FF2B5EF4-FFF2-40B4-BE49-F238E27FC236}">
                <a16:creationId xmlns:a16="http://schemas.microsoft.com/office/drawing/2014/main" id="{0F714DCA-BEFB-4D0D-98F1-931F59A8FF49}"/>
              </a:ext>
            </a:extLst>
          </p:cNvPr>
          <p:cNvSpPr/>
          <p:nvPr/>
        </p:nvSpPr>
        <p:spPr bwMode="auto">
          <a:xfrm>
            <a:off x="2286000" y="2743200"/>
            <a:ext cx="3931920" cy="1645920"/>
          </a:xfrm>
          <a:prstGeom prst="rect">
            <a:avLst/>
          </a:prstGeom>
          <a:noFill/>
          <a:ln w="44450">
            <a:solidFill>
              <a:srgbClr val="EE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B67633C9-E509-4BC3-B365-FB454723F047}"/>
              </a:ext>
            </a:extLst>
          </p:cNvPr>
          <p:cNvPicPr>
            <a:picLocks noChangeAspect="1"/>
          </p:cNvPicPr>
          <p:nvPr/>
        </p:nvPicPr>
        <p:blipFill>
          <a:blip r:embed="rId5"/>
          <a:stretch>
            <a:fillRect/>
          </a:stretch>
        </p:blipFill>
        <p:spPr>
          <a:xfrm>
            <a:off x="7589520" y="2103120"/>
            <a:ext cx="3865044" cy="2926080"/>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1700209052"/>
      </p:ext>
    </p:extLst>
  </p:cSld>
  <p:clrMapOvr>
    <a:masterClrMapping/>
  </p:clrMapOvr>
  <p:transition spd="slow"/>
</p:sld>
</file>

<file path=ppt/slides/slide1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Debugging basic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4DBC6220-D162-4D75-B814-A1DA472D5A06}"/>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3365169138"/>
      </p:ext>
    </p:extLst>
  </p:cSld>
  <p:clrMapOvr>
    <a:masterClrMapping/>
  </p:clrMapOvr>
  <p:transition spd="slow"/>
</p:sld>
</file>

<file path=ppt/slides/slide1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139239881"/>
      </p:ext>
    </p:extLst>
  </p:cSld>
  <p:clrMapOvr>
    <a:masterClrMapping/>
  </p:clrMapOvr>
  <p:transition spd="slow"/>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Working With The Debugger</a:t>
            </a:r>
          </a:p>
        </p:txBody>
      </p:sp>
    </p:spTree>
    <p:custDataLst>
      <p:tags r:id="rId1"/>
    </p:custDataLst>
    <p:extLst>
      <p:ext uri="{BB962C8B-B14F-4D97-AF65-F5344CB8AC3E}">
        <p14:creationId xmlns:p14="http://schemas.microsoft.com/office/powerpoint/2010/main" val="2325836248"/>
      </p:ext>
    </p:extLst>
  </p:cSld>
  <p:clrMapOvr>
    <a:masterClrMapping/>
  </p:clrMapOvr>
  <p:transition spd="slow"/>
</p:sld>
</file>

<file path=ppt/slides/slide15.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Actions</a:t>
            </a:r>
          </a:p>
        </p:txBody>
      </p:sp>
      <p:graphicFrame>
        <p:nvGraphicFramePr>
          <p:cNvPr id="7" name="Text Placeholder 2">
            <a:extLst>
              <a:ext uri="{FF2B5EF4-FFF2-40B4-BE49-F238E27FC236}">
                <a16:creationId xmlns:a16="http://schemas.microsoft.com/office/drawing/2014/main" id="{7368B303-CF16-4220-B838-8FA9A1A56F31}"/>
              </a:ext>
            </a:extLst>
          </p:cNvPr>
          <p:cNvGraphicFramePr/>
          <p:nvPr>
            <p:extLst>
              <p:ext uri="{D42A27DB-BD31-4B8C-83A1-F6EECF244321}">
                <p14:modId xmlns:p14="http://schemas.microsoft.com/office/powerpoint/2010/main" val="257712554"/>
              </p:ext>
            </p:extLst>
          </p:nvPr>
        </p:nvGraphicFramePr>
        <p:xfrm>
          <a:off x="563563" y="1143000"/>
          <a:ext cx="10972800" cy="54864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3367862728"/>
      </p:ext>
    </p:extLst>
  </p:cSld>
  <p:clrMapOvr>
    <a:masterClrMapping/>
  </p:clrMapOvr>
  <p:transition spd="slow"/>
  <p:extLst>
    <p:ext uri="{6950BFC3-D8DA-4A85-94F7-54DA5524770B}">
      <p188:commentRel xmlns:p188="http://schemas.microsoft.com/office/powerpoint/2018/8/main" r:id="rId4"/>
    </p:ext>
  </p:extLst>
</p:sld>
</file>

<file path=ppt/slides/slide1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Call Stack</a:t>
            </a:r>
          </a:p>
        </p:txBody>
      </p:sp>
      <p:graphicFrame>
        <p:nvGraphicFramePr>
          <p:cNvPr id="7" name="Text Placeholder 2">
            <a:extLst>
              <a:ext uri="{FF2B5EF4-FFF2-40B4-BE49-F238E27FC236}">
                <a16:creationId xmlns:a16="http://schemas.microsoft.com/office/drawing/2014/main" id="{7368B303-CF16-4220-B838-8FA9A1A56F31}"/>
              </a:ext>
            </a:extLst>
          </p:cNvPr>
          <p:cNvGraphicFramePr/>
          <p:nvPr>
            <p:extLst>
              <p:ext uri="{D42A27DB-BD31-4B8C-83A1-F6EECF244321}">
                <p14:modId xmlns:p14="http://schemas.microsoft.com/office/powerpoint/2010/main" val="505994611"/>
              </p:ext>
            </p:extLst>
          </p:nvPr>
        </p:nvGraphicFramePr>
        <p:xfrm>
          <a:off x="609600" y="932430"/>
          <a:ext cx="10972800" cy="326778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Code Box">
            <a:extLst>
              <a:ext uri="{FF2B5EF4-FFF2-40B4-BE49-F238E27FC236}">
                <a16:creationId xmlns:a16="http://schemas.microsoft.com/office/drawing/2014/main" id="{9E75B3EA-D700-43F5-8B5C-8A43F1E17941}"/>
              </a:ext>
            </a:extLst>
          </p:cNvPr>
          <p:cNvSpPr/>
          <p:nvPr>
            <p:custDataLst>
              <p:tags r:id="rId2"/>
            </p:custDataLst>
          </p:nvPr>
        </p:nvSpPr>
        <p:spPr>
          <a:xfrm>
            <a:off x="655638" y="4453933"/>
            <a:ext cx="11242991" cy="2084027"/>
          </a:xfrm>
          <a:prstGeom prst="rect">
            <a:avLst/>
          </a:prstGeom>
          <a:solidFill>
            <a:srgbClr val="012456"/>
          </a:solidFill>
        </p:spPr>
        <p:txBody>
          <a:bodyPr wrap="square" tIns="91440" bIns="91440">
            <a:noAutofit/>
          </a:bodyPr>
          <a:lstStyle/>
          <a:p>
            <a:r>
              <a:rPr lang="en-US" sz="1800">
                <a:solidFill>
                  <a:srgbClr val="F5F5F5"/>
                </a:solidFill>
                <a:latin typeface="Lucida Console" panose="020B0609040504020204" pitchFamily="49" charset="0"/>
              </a:rPr>
              <a:t>Command       Arguments Location              </a:t>
            </a:r>
          </a:p>
          <a:p>
            <a:r>
              <a:rPr lang="en-US" sz="1800">
                <a:solidFill>
                  <a:srgbClr val="F5F5F5"/>
                </a:solidFill>
                <a:latin typeface="Lucida Console" panose="020B0609040504020204" pitchFamily="49" charset="0"/>
              </a:rPr>
              <a:t>-------       --------- --------              </a:t>
            </a:r>
          </a:p>
          <a:p>
            <a:r>
              <a:rPr lang="en-US" sz="1800">
                <a:solidFill>
                  <a:srgbClr val="F5F5F5"/>
                </a:solidFill>
                <a:latin typeface="Lucida Console" panose="020B0609040504020204" pitchFamily="49" charset="0"/>
              </a:rPr>
              <a:t>Bam           {bam=8}   CallStack.ps1: line 23</a:t>
            </a:r>
          </a:p>
          <a:p>
            <a:r>
              <a:rPr lang="en-US" sz="1800" err="1">
                <a:solidFill>
                  <a:srgbClr val="F5F5F5"/>
                </a:solidFill>
                <a:latin typeface="Lucida Console" panose="020B0609040504020204" pitchFamily="49" charset="0"/>
              </a:rPr>
              <a:t>Wam</a:t>
            </a:r>
            <a:r>
              <a:rPr lang="en-US" sz="1800">
                <a:solidFill>
                  <a:srgbClr val="F5F5F5"/>
                </a:solidFill>
                <a:latin typeface="Lucida Console" panose="020B0609040504020204" pitchFamily="49" charset="0"/>
              </a:rPr>
              <a:t>           {</a:t>
            </a:r>
            <a:r>
              <a:rPr lang="en-US" sz="1800" err="1">
                <a:solidFill>
                  <a:srgbClr val="F5F5F5"/>
                </a:solidFill>
                <a:latin typeface="Lucida Console" panose="020B0609040504020204" pitchFamily="49" charset="0"/>
              </a:rPr>
              <a:t>wam</a:t>
            </a:r>
            <a:r>
              <a:rPr lang="en-US" sz="1800">
                <a:solidFill>
                  <a:srgbClr val="F5F5F5"/>
                </a:solidFill>
                <a:latin typeface="Lucida Console" panose="020B0609040504020204" pitchFamily="49" charset="0"/>
              </a:rPr>
              <a:t>=7}   CallStack.ps1: line 16</a:t>
            </a:r>
          </a:p>
          <a:p>
            <a:r>
              <a:rPr lang="en-US" sz="1800">
                <a:solidFill>
                  <a:srgbClr val="F5F5F5"/>
                </a:solidFill>
                <a:latin typeface="Lucida Console" panose="020B0609040504020204" pitchFamily="49" charset="0"/>
              </a:rPr>
              <a:t>Bar           {bar=6}   CallStack.ps1: line 10</a:t>
            </a:r>
          </a:p>
          <a:p>
            <a:r>
              <a:rPr lang="en-US" sz="1800">
                <a:solidFill>
                  <a:srgbClr val="F5F5F5"/>
                </a:solidFill>
                <a:latin typeface="Lucida Console" panose="020B0609040504020204" pitchFamily="49" charset="0"/>
              </a:rPr>
              <a:t>Foo           {foo=5}   CallStack.ps1: line 4 </a:t>
            </a:r>
          </a:p>
          <a:p>
            <a:r>
              <a:rPr lang="en-US" sz="1800">
                <a:solidFill>
                  <a:srgbClr val="F5F5F5"/>
                </a:solidFill>
                <a:latin typeface="Lucida Console" panose="020B0609040504020204" pitchFamily="49" charset="0"/>
              </a:rPr>
              <a:t>CallStack.ps1 {}        CallStack.ps1: line 26 </a:t>
            </a:r>
          </a:p>
        </p:txBody>
      </p:sp>
    </p:spTree>
    <p:custDataLst>
      <p:tags r:id="rId1"/>
    </p:custDataLst>
    <p:extLst>
      <p:ext uri="{BB962C8B-B14F-4D97-AF65-F5344CB8AC3E}">
        <p14:creationId xmlns:p14="http://schemas.microsoft.com/office/powerpoint/2010/main" val="2697481920"/>
      </p:ext>
    </p:extLst>
  </p:cSld>
  <p:clrMapOvr>
    <a:masterClrMapping/>
  </p:clrMapOvr>
  <p:transition spd="slow"/>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Get-</a:t>
            </a:r>
            <a:r>
              <a:rPr lang="en-US" err="1"/>
              <a:t>PSCallStack</a:t>
            </a:r>
            <a:r>
              <a:rPr lang="en-US"/>
              <a:t> Example</a:t>
            </a:r>
          </a:p>
        </p:txBody>
      </p:sp>
      <p:sp>
        <p:nvSpPr>
          <p:cNvPr id="4" name="Code Box">
            <a:extLst>
              <a:ext uri="{FF2B5EF4-FFF2-40B4-BE49-F238E27FC236}">
                <a16:creationId xmlns:a16="http://schemas.microsoft.com/office/drawing/2014/main" id="{7B221272-F632-4C2B-B329-BA04392E4744}"/>
              </a:ext>
            </a:extLst>
          </p:cNvPr>
          <p:cNvSpPr/>
          <p:nvPr>
            <p:custDataLst>
              <p:tags r:id="rId2"/>
            </p:custDataLst>
          </p:nvPr>
        </p:nvSpPr>
        <p:spPr>
          <a:xfrm>
            <a:off x="5065712" y="1105946"/>
            <a:ext cx="6878955" cy="5432014"/>
          </a:xfrm>
          <a:prstGeom prst="rect">
            <a:avLst/>
          </a:prstGeom>
          <a:solidFill>
            <a:srgbClr val="012456"/>
          </a:solidFill>
        </p:spPr>
        <p:txBody>
          <a:bodyPr wrap="square" tIns="91440" bIns="91440">
            <a:noAutofit/>
          </a:bodyPr>
          <a:lstStyle/>
          <a:p>
            <a:r>
              <a:rPr lang="en-US" sz="1800">
                <a:solidFill>
                  <a:srgbClr val="F5F5F5"/>
                </a:solidFill>
                <a:latin typeface="Lucida Console" panose="020B0609040504020204" pitchFamily="49" charset="0"/>
              </a:rPr>
              <a:t>PS&gt; C:\CallStack.ps1</a:t>
            </a:r>
          </a:p>
          <a:p>
            <a:r>
              <a:rPr lang="en-US" sz="1800">
                <a:solidFill>
                  <a:srgbClr val="F5F5F5"/>
                </a:solidFill>
                <a:latin typeface="Lucida Console" panose="020B0609040504020204" pitchFamily="49" charset="0"/>
              </a:rPr>
              <a:t>9</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Command       Arguments Location              </a:t>
            </a:r>
          </a:p>
          <a:p>
            <a:r>
              <a:rPr lang="en-US" sz="1800">
                <a:solidFill>
                  <a:srgbClr val="F5F5F5"/>
                </a:solidFill>
                <a:latin typeface="Lucida Console" panose="020B0609040504020204" pitchFamily="49" charset="0"/>
              </a:rPr>
              <a:t>-------       --------- --------              </a:t>
            </a:r>
          </a:p>
          <a:p>
            <a:r>
              <a:rPr lang="en-US" sz="1800">
                <a:solidFill>
                  <a:srgbClr val="F5F5F5"/>
                </a:solidFill>
                <a:latin typeface="Lucida Console" panose="020B0609040504020204" pitchFamily="49" charset="0"/>
              </a:rPr>
              <a:t>Bam           {bam=8}   CallStack.ps1: line 23</a:t>
            </a:r>
          </a:p>
          <a:p>
            <a:r>
              <a:rPr lang="en-US" sz="1800" err="1">
                <a:solidFill>
                  <a:srgbClr val="F5F5F5"/>
                </a:solidFill>
                <a:latin typeface="Lucida Console" panose="020B0609040504020204" pitchFamily="49" charset="0"/>
              </a:rPr>
              <a:t>Wam</a:t>
            </a:r>
            <a:r>
              <a:rPr lang="en-US" sz="1800">
                <a:solidFill>
                  <a:srgbClr val="F5F5F5"/>
                </a:solidFill>
                <a:latin typeface="Lucida Console" panose="020B0609040504020204" pitchFamily="49" charset="0"/>
              </a:rPr>
              <a:t>           {</a:t>
            </a:r>
            <a:r>
              <a:rPr lang="en-US" sz="1800" err="1">
                <a:solidFill>
                  <a:srgbClr val="F5F5F5"/>
                </a:solidFill>
                <a:latin typeface="Lucida Console" panose="020B0609040504020204" pitchFamily="49" charset="0"/>
              </a:rPr>
              <a:t>wam</a:t>
            </a:r>
            <a:r>
              <a:rPr lang="en-US" sz="1800">
                <a:solidFill>
                  <a:srgbClr val="F5F5F5"/>
                </a:solidFill>
                <a:latin typeface="Lucida Console" panose="020B0609040504020204" pitchFamily="49" charset="0"/>
              </a:rPr>
              <a:t>=7}   CallStack.ps1: line 16</a:t>
            </a:r>
          </a:p>
          <a:p>
            <a:r>
              <a:rPr lang="en-US" sz="1800">
                <a:solidFill>
                  <a:srgbClr val="F5F5F5"/>
                </a:solidFill>
                <a:latin typeface="Lucida Console" panose="020B0609040504020204" pitchFamily="49" charset="0"/>
              </a:rPr>
              <a:t>Bar           {bar=6}   CallStack.ps1: line 10</a:t>
            </a:r>
          </a:p>
          <a:p>
            <a:r>
              <a:rPr lang="en-US" sz="1800">
                <a:solidFill>
                  <a:srgbClr val="F5F5F5"/>
                </a:solidFill>
                <a:latin typeface="Lucida Console" panose="020B0609040504020204" pitchFamily="49" charset="0"/>
              </a:rPr>
              <a:t>Foo           {foo=5}   CallStack.ps1: line 4 </a:t>
            </a:r>
          </a:p>
          <a:p>
            <a:r>
              <a:rPr lang="en-US" sz="1800">
                <a:solidFill>
                  <a:srgbClr val="F5F5F5"/>
                </a:solidFill>
                <a:latin typeface="Lucida Console" panose="020B0609040504020204" pitchFamily="49" charset="0"/>
              </a:rPr>
              <a:t>CallStack.ps1 {}        CallStack.ps1: line 26 </a:t>
            </a:r>
          </a:p>
        </p:txBody>
      </p:sp>
      <p:sp>
        <p:nvSpPr>
          <p:cNvPr id="5" name="Code Box">
            <a:extLst>
              <a:ext uri="{FF2B5EF4-FFF2-40B4-BE49-F238E27FC236}">
                <a16:creationId xmlns:a16="http://schemas.microsoft.com/office/drawing/2014/main" id="{47443753-F7B3-40E3-AA12-669AFAF222D3}"/>
              </a:ext>
            </a:extLst>
          </p:cNvPr>
          <p:cNvSpPr/>
          <p:nvPr>
            <p:custDataLst>
              <p:tags r:id="rId3"/>
            </p:custDataLst>
          </p:nvPr>
        </p:nvSpPr>
        <p:spPr>
          <a:xfrm>
            <a:off x="655638" y="1105946"/>
            <a:ext cx="4124324" cy="5432014"/>
          </a:xfrm>
          <a:prstGeom prst="rect">
            <a:avLst/>
          </a:prstGeom>
          <a:solidFill>
            <a:schemeClr val="tx2">
              <a:lumMod val="20000"/>
              <a:lumOff val="80000"/>
            </a:schemeClr>
          </a:solidFill>
        </p:spPr>
        <p:txBody>
          <a:bodyPr wrap="square" tIns="91440" bIns="91440">
            <a:noAutofit/>
          </a:bodyPr>
          <a:lstStyle/>
          <a:p>
            <a:r>
              <a:rPr lang="en-US">
                <a:solidFill>
                  <a:srgbClr val="00008B"/>
                </a:solidFill>
                <a:latin typeface="Lucida Console" panose="020B0609040504020204" pitchFamily="49" charset="0"/>
              </a:rPr>
              <a:t>Function</a:t>
            </a:r>
            <a:r>
              <a:rPr lang="en-US">
                <a:solidFill>
                  <a:prstClr val="black"/>
                </a:solidFill>
                <a:latin typeface="Lucida Console" panose="020B0609040504020204" pitchFamily="49" charset="0"/>
              </a:rPr>
              <a:t> </a:t>
            </a:r>
            <a:r>
              <a:rPr lang="en-US">
                <a:solidFill>
                  <a:srgbClr val="8A2BE2"/>
                </a:solidFill>
                <a:latin typeface="Lucida Console" panose="020B0609040504020204" pitchFamily="49" charset="0"/>
              </a:rPr>
              <a:t>Foo</a:t>
            </a:r>
            <a:r>
              <a:rPr lang="en-US">
                <a:solidFill>
                  <a:prstClr val="black"/>
                </a:solidFill>
                <a:latin typeface="Lucida Console" panose="020B0609040504020204" pitchFamily="49" charset="0"/>
              </a:rPr>
              <a:t>{</a:t>
            </a:r>
          </a:p>
          <a:p>
            <a:r>
              <a:rPr lang="en-US">
                <a:solidFill>
                  <a:prstClr val="black"/>
                </a:solidFill>
                <a:latin typeface="Lucida Console" panose="020B0609040504020204" pitchFamily="49" charset="0"/>
              </a:rPr>
              <a:t>    </a:t>
            </a:r>
            <a:r>
              <a:rPr lang="en-US">
                <a:solidFill>
                  <a:srgbClr val="00008B"/>
                </a:solidFill>
                <a:latin typeface="Lucida Console" panose="020B0609040504020204" pitchFamily="49" charset="0"/>
              </a:rPr>
              <a:t>param</a:t>
            </a:r>
            <a:r>
              <a:rPr lang="en-US">
                <a:solidFill>
                  <a:prstClr val="black"/>
                </a:solidFill>
                <a:latin typeface="Lucida Console" panose="020B0609040504020204" pitchFamily="49" charset="0"/>
              </a:rPr>
              <a:t>(</a:t>
            </a:r>
            <a:r>
              <a:rPr lang="en-US">
                <a:solidFill>
                  <a:srgbClr val="A82D00"/>
                </a:solidFill>
                <a:latin typeface="Lucida Console" panose="020B0609040504020204" pitchFamily="49" charset="0"/>
              </a:rPr>
              <a:t>$foo</a:t>
            </a:r>
            <a:r>
              <a:rPr lang="en-US">
                <a:solidFill>
                  <a:prstClr val="black"/>
                </a:solidFill>
                <a:latin typeface="Lucida Console" panose="020B0609040504020204" pitchFamily="49" charset="0"/>
              </a:rPr>
              <a:t>)</a:t>
            </a:r>
          </a:p>
          <a:p>
            <a:r>
              <a:rPr lang="en-US">
                <a:solidFill>
                  <a:prstClr val="black"/>
                </a:solidFill>
                <a:latin typeface="Lucida Console" panose="020B0609040504020204" pitchFamily="49" charset="0"/>
              </a:rPr>
              <a:t>    </a:t>
            </a:r>
            <a:r>
              <a:rPr lang="en-US">
                <a:solidFill>
                  <a:srgbClr val="0000FF"/>
                </a:solidFill>
                <a:latin typeface="Lucida Console" panose="020B0609040504020204" pitchFamily="49" charset="0"/>
              </a:rPr>
              <a:t>Bar</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bar</a:t>
            </a:r>
            <a:r>
              <a:rPr lang="en-US">
                <a:solidFill>
                  <a:prstClr val="black"/>
                </a:solidFill>
                <a:latin typeface="Lucida Console" panose="020B0609040504020204" pitchFamily="49" charset="0"/>
              </a:rPr>
              <a:t> (</a:t>
            </a:r>
            <a:r>
              <a:rPr lang="en-US">
                <a:solidFill>
                  <a:srgbClr val="A82D00"/>
                </a:solidFill>
                <a:latin typeface="Lucida Console" panose="020B0609040504020204" pitchFamily="49" charset="0"/>
              </a:rPr>
              <a:t>$foo</a:t>
            </a:r>
            <a:r>
              <a:rPr lang="en-US">
                <a:solidFill>
                  <a:srgbClr val="696969"/>
                </a:solidFill>
                <a:latin typeface="Lucida Console" panose="020B0609040504020204" pitchFamily="49" charset="0"/>
              </a:rPr>
              <a:t>+</a:t>
            </a:r>
            <a:r>
              <a:rPr lang="en-US">
                <a:solidFill>
                  <a:srgbClr val="800080"/>
                </a:solidFill>
                <a:latin typeface="Lucida Console" panose="020B0609040504020204" pitchFamily="49" charset="0"/>
              </a:rPr>
              <a:t>1</a:t>
            </a:r>
            <a:r>
              <a:rPr lang="en-US">
                <a:solidFill>
                  <a:prstClr val="black"/>
                </a:solidFill>
                <a:latin typeface="Lucida Console" panose="020B0609040504020204" pitchFamily="49" charset="0"/>
              </a:rPr>
              <a:t>)</a:t>
            </a:r>
          </a:p>
          <a:p>
            <a:r>
              <a:rPr lang="en-US">
                <a:solidFill>
                  <a:prstClr val="black"/>
                </a:solidFill>
                <a:latin typeface="Lucida Console" panose="020B0609040504020204" pitchFamily="49" charset="0"/>
              </a:rPr>
              <a:t>}</a:t>
            </a:r>
          </a:p>
          <a:p>
            <a:r>
              <a:rPr lang="en-US">
                <a:solidFill>
                  <a:srgbClr val="00008B"/>
                </a:solidFill>
                <a:latin typeface="Lucida Console" panose="020B0609040504020204" pitchFamily="49" charset="0"/>
              </a:rPr>
              <a:t>Function</a:t>
            </a:r>
            <a:r>
              <a:rPr lang="en-US">
                <a:solidFill>
                  <a:prstClr val="black"/>
                </a:solidFill>
                <a:latin typeface="Lucida Console" panose="020B0609040504020204" pitchFamily="49" charset="0"/>
              </a:rPr>
              <a:t> </a:t>
            </a:r>
            <a:r>
              <a:rPr lang="en-US">
                <a:solidFill>
                  <a:srgbClr val="8A2BE2"/>
                </a:solidFill>
                <a:latin typeface="Lucida Console" panose="020B0609040504020204" pitchFamily="49" charset="0"/>
              </a:rPr>
              <a:t>Bar</a:t>
            </a:r>
            <a:r>
              <a:rPr lang="en-US">
                <a:solidFill>
                  <a:prstClr val="black"/>
                </a:solidFill>
                <a:latin typeface="Lucida Console" panose="020B0609040504020204" pitchFamily="49" charset="0"/>
              </a:rPr>
              <a:t>{</a:t>
            </a:r>
          </a:p>
          <a:p>
            <a:r>
              <a:rPr lang="en-US">
                <a:solidFill>
                  <a:prstClr val="black"/>
                </a:solidFill>
                <a:latin typeface="Lucida Console" panose="020B0609040504020204" pitchFamily="49" charset="0"/>
              </a:rPr>
              <a:t>    </a:t>
            </a:r>
            <a:r>
              <a:rPr lang="en-US">
                <a:solidFill>
                  <a:srgbClr val="00008B"/>
                </a:solidFill>
                <a:latin typeface="Lucida Console" panose="020B0609040504020204" pitchFamily="49" charset="0"/>
              </a:rPr>
              <a:t>param</a:t>
            </a:r>
            <a:r>
              <a:rPr lang="en-US">
                <a:solidFill>
                  <a:prstClr val="black"/>
                </a:solidFill>
                <a:latin typeface="Lucida Console" panose="020B0609040504020204" pitchFamily="49" charset="0"/>
              </a:rPr>
              <a:t>(</a:t>
            </a:r>
            <a:r>
              <a:rPr lang="en-US">
                <a:solidFill>
                  <a:srgbClr val="A82D00"/>
                </a:solidFill>
                <a:latin typeface="Lucida Console" panose="020B0609040504020204" pitchFamily="49" charset="0"/>
              </a:rPr>
              <a:t>$bar</a:t>
            </a:r>
            <a:r>
              <a:rPr lang="en-US">
                <a:solidFill>
                  <a:prstClr val="black"/>
                </a:solidFill>
                <a:latin typeface="Lucida Console" panose="020B0609040504020204" pitchFamily="49" charset="0"/>
              </a:rPr>
              <a:t>)</a:t>
            </a:r>
          </a:p>
          <a:p>
            <a:r>
              <a:rPr lang="en-US">
                <a:solidFill>
                  <a:prstClr val="black"/>
                </a:solidFill>
                <a:latin typeface="Lucida Console" panose="020B0609040504020204" pitchFamily="49" charset="0"/>
              </a:rPr>
              <a:t>    </a:t>
            </a:r>
            <a:r>
              <a:rPr lang="en-US" err="1">
                <a:solidFill>
                  <a:srgbClr val="0000FF"/>
                </a:solidFill>
                <a:latin typeface="Lucida Console" panose="020B0609040504020204" pitchFamily="49" charset="0"/>
              </a:rPr>
              <a:t>Wam</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a:t>
            </a:r>
            <a:r>
              <a:rPr lang="en-US" err="1">
                <a:solidFill>
                  <a:srgbClr val="000080"/>
                </a:solidFill>
                <a:latin typeface="Lucida Console" panose="020B0609040504020204" pitchFamily="49" charset="0"/>
              </a:rPr>
              <a:t>wam</a:t>
            </a:r>
            <a:r>
              <a:rPr lang="en-US">
                <a:solidFill>
                  <a:prstClr val="black"/>
                </a:solidFill>
                <a:latin typeface="Lucida Console" panose="020B0609040504020204" pitchFamily="49" charset="0"/>
              </a:rPr>
              <a:t> (</a:t>
            </a:r>
            <a:r>
              <a:rPr lang="en-US">
                <a:solidFill>
                  <a:srgbClr val="A82D00"/>
                </a:solidFill>
                <a:latin typeface="Lucida Console" panose="020B0609040504020204" pitchFamily="49" charset="0"/>
              </a:rPr>
              <a:t>$bar</a:t>
            </a:r>
            <a:r>
              <a:rPr lang="en-US">
                <a:solidFill>
                  <a:srgbClr val="696969"/>
                </a:solidFill>
                <a:latin typeface="Lucida Console" panose="020B0609040504020204" pitchFamily="49" charset="0"/>
              </a:rPr>
              <a:t>+</a:t>
            </a:r>
            <a:r>
              <a:rPr lang="en-US">
                <a:solidFill>
                  <a:srgbClr val="800080"/>
                </a:solidFill>
                <a:latin typeface="Lucida Console" panose="020B0609040504020204" pitchFamily="49" charset="0"/>
              </a:rPr>
              <a:t>1</a:t>
            </a:r>
            <a:r>
              <a:rPr lang="en-US">
                <a:solidFill>
                  <a:prstClr val="black"/>
                </a:solidFill>
                <a:latin typeface="Lucida Console" panose="020B0609040504020204" pitchFamily="49" charset="0"/>
              </a:rPr>
              <a:t>) </a:t>
            </a:r>
          </a:p>
          <a:p>
            <a:r>
              <a:rPr lang="en-US">
                <a:solidFill>
                  <a:prstClr val="black"/>
                </a:solidFill>
                <a:latin typeface="Lucida Console" panose="020B0609040504020204" pitchFamily="49" charset="0"/>
              </a:rPr>
              <a:t>}</a:t>
            </a:r>
          </a:p>
          <a:p>
            <a:r>
              <a:rPr lang="en-US">
                <a:solidFill>
                  <a:srgbClr val="00008B"/>
                </a:solidFill>
                <a:latin typeface="Lucida Console" panose="020B0609040504020204" pitchFamily="49" charset="0"/>
              </a:rPr>
              <a:t>Function</a:t>
            </a:r>
            <a:r>
              <a:rPr lang="en-US">
                <a:solidFill>
                  <a:prstClr val="black"/>
                </a:solidFill>
                <a:latin typeface="Lucida Console" panose="020B0609040504020204" pitchFamily="49" charset="0"/>
              </a:rPr>
              <a:t> </a:t>
            </a:r>
            <a:r>
              <a:rPr lang="en-US" err="1">
                <a:solidFill>
                  <a:srgbClr val="8A2BE2"/>
                </a:solidFill>
                <a:latin typeface="Lucida Console" panose="020B0609040504020204" pitchFamily="49" charset="0"/>
              </a:rPr>
              <a:t>Wam</a:t>
            </a:r>
            <a:r>
              <a:rPr lang="en-US">
                <a:solidFill>
                  <a:prstClr val="black"/>
                </a:solidFill>
                <a:latin typeface="Lucida Console" panose="020B0609040504020204" pitchFamily="49" charset="0"/>
              </a:rPr>
              <a:t>{</a:t>
            </a:r>
          </a:p>
          <a:p>
            <a:r>
              <a:rPr lang="en-US">
                <a:solidFill>
                  <a:prstClr val="black"/>
                </a:solidFill>
                <a:latin typeface="Lucida Console" panose="020B0609040504020204" pitchFamily="49" charset="0"/>
              </a:rPr>
              <a:t>    </a:t>
            </a:r>
            <a:r>
              <a:rPr lang="en-US">
                <a:solidFill>
                  <a:srgbClr val="00008B"/>
                </a:solidFill>
                <a:latin typeface="Lucida Console" panose="020B0609040504020204" pitchFamily="49" charset="0"/>
              </a:rPr>
              <a:t>param</a:t>
            </a:r>
            <a:r>
              <a:rPr lang="en-US">
                <a:solidFill>
                  <a:prstClr val="black"/>
                </a:solidFill>
                <a:latin typeface="Lucida Console" panose="020B0609040504020204" pitchFamily="49" charset="0"/>
              </a:rPr>
              <a:t>(</a:t>
            </a:r>
            <a:r>
              <a:rPr lang="en-US">
                <a:solidFill>
                  <a:srgbClr val="A82D00"/>
                </a:solidFill>
                <a:latin typeface="Lucida Console" panose="020B0609040504020204" pitchFamily="49" charset="0"/>
              </a:rPr>
              <a:t>$</a:t>
            </a:r>
            <a:r>
              <a:rPr lang="en-US" err="1">
                <a:solidFill>
                  <a:srgbClr val="A82D00"/>
                </a:solidFill>
                <a:latin typeface="Lucida Console" panose="020B0609040504020204" pitchFamily="49" charset="0"/>
              </a:rPr>
              <a:t>wam</a:t>
            </a:r>
            <a:r>
              <a:rPr lang="en-US">
                <a:solidFill>
                  <a:prstClr val="black"/>
                </a:solidFill>
                <a:latin typeface="Lucida Console" panose="020B0609040504020204" pitchFamily="49" charset="0"/>
              </a:rPr>
              <a:t>)</a:t>
            </a:r>
          </a:p>
          <a:p>
            <a:r>
              <a:rPr lang="en-US">
                <a:solidFill>
                  <a:prstClr val="black"/>
                </a:solidFill>
                <a:latin typeface="Lucida Console" panose="020B0609040504020204" pitchFamily="49" charset="0"/>
              </a:rPr>
              <a:t>    </a:t>
            </a:r>
            <a:r>
              <a:rPr lang="en-US">
                <a:solidFill>
                  <a:srgbClr val="0000FF"/>
                </a:solidFill>
                <a:latin typeface="Lucida Console" panose="020B0609040504020204" pitchFamily="49" charset="0"/>
              </a:rPr>
              <a:t>Bam</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bam</a:t>
            </a:r>
            <a:r>
              <a:rPr lang="en-US">
                <a:solidFill>
                  <a:prstClr val="black"/>
                </a:solidFill>
                <a:latin typeface="Lucida Console" panose="020B0609040504020204" pitchFamily="49" charset="0"/>
              </a:rPr>
              <a:t> (</a:t>
            </a:r>
            <a:r>
              <a:rPr lang="en-US">
                <a:solidFill>
                  <a:srgbClr val="A82D00"/>
                </a:solidFill>
                <a:latin typeface="Lucida Console" panose="020B0609040504020204" pitchFamily="49" charset="0"/>
              </a:rPr>
              <a:t>$wam</a:t>
            </a:r>
            <a:r>
              <a:rPr lang="en-US">
                <a:solidFill>
                  <a:srgbClr val="696969"/>
                </a:solidFill>
                <a:latin typeface="Lucida Console" panose="020B0609040504020204" pitchFamily="49" charset="0"/>
              </a:rPr>
              <a:t>+</a:t>
            </a:r>
            <a:r>
              <a:rPr lang="en-US">
                <a:solidFill>
                  <a:srgbClr val="800080"/>
                </a:solidFill>
                <a:latin typeface="Lucida Console" panose="020B0609040504020204" pitchFamily="49" charset="0"/>
              </a:rPr>
              <a:t>1</a:t>
            </a:r>
            <a:r>
              <a:rPr lang="en-US">
                <a:solidFill>
                  <a:prstClr val="black"/>
                </a:solidFill>
                <a:latin typeface="Lucida Console" panose="020B0609040504020204" pitchFamily="49" charset="0"/>
              </a:rPr>
              <a:t>)</a:t>
            </a:r>
          </a:p>
          <a:p>
            <a:r>
              <a:rPr lang="en-US">
                <a:solidFill>
                  <a:prstClr val="black"/>
                </a:solidFill>
                <a:latin typeface="Lucida Console" panose="020B0609040504020204" pitchFamily="49" charset="0"/>
              </a:rPr>
              <a:t>}</a:t>
            </a:r>
          </a:p>
          <a:p>
            <a:r>
              <a:rPr lang="en-US">
                <a:solidFill>
                  <a:srgbClr val="00008B"/>
                </a:solidFill>
                <a:latin typeface="Lucida Console" panose="020B0609040504020204" pitchFamily="49" charset="0"/>
              </a:rPr>
              <a:t>Function</a:t>
            </a:r>
            <a:r>
              <a:rPr lang="en-US">
                <a:solidFill>
                  <a:prstClr val="black"/>
                </a:solidFill>
                <a:latin typeface="Lucida Console" panose="020B0609040504020204" pitchFamily="49" charset="0"/>
              </a:rPr>
              <a:t> </a:t>
            </a:r>
            <a:r>
              <a:rPr lang="en-US">
                <a:solidFill>
                  <a:srgbClr val="8A2BE2"/>
                </a:solidFill>
                <a:latin typeface="Lucida Console" panose="020B0609040504020204" pitchFamily="49" charset="0"/>
              </a:rPr>
              <a:t>Bam</a:t>
            </a:r>
            <a:r>
              <a:rPr lang="en-US">
                <a:solidFill>
                  <a:prstClr val="black"/>
                </a:solidFill>
                <a:latin typeface="Lucida Console" panose="020B0609040504020204" pitchFamily="49" charset="0"/>
              </a:rPr>
              <a:t>{</a:t>
            </a:r>
          </a:p>
          <a:p>
            <a:r>
              <a:rPr lang="en-US">
                <a:solidFill>
                  <a:prstClr val="black"/>
                </a:solidFill>
                <a:latin typeface="Lucida Console" panose="020B0609040504020204" pitchFamily="49" charset="0"/>
              </a:rPr>
              <a:t>    </a:t>
            </a:r>
            <a:r>
              <a:rPr lang="en-US">
                <a:solidFill>
                  <a:srgbClr val="00008B"/>
                </a:solidFill>
                <a:latin typeface="Lucida Console" panose="020B0609040504020204" pitchFamily="49" charset="0"/>
              </a:rPr>
              <a:t>param</a:t>
            </a:r>
            <a:r>
              <a:rPr lang="en-US">
                <a:solidFill>
                  <a:prstClr val="black"/>
                </a:solidFill>
                <a:latin typeface="Lucida Console" panose="020B0609040504020204" pitchFamily="49" charset="0"/>
              </a:rPr>
              <a:t>(</a:t>
            </a:r>
            <a:r>
              <a:rPr lang="en-US">
                <a:solidFill>
                  <a:srgbClr val="A82D00"/>
                </a:solidFill>
                <a:latin typeface="Lucida Console" panose="020B0609040504020204" pitchFamily="49" charset="0"/>
              </a:rPr>
              <a:t>$bam</a:t>
            </a:r>
            <a:r>
              <a:rPr lang="en-US">
                <a:solidFill>
                  <a:prstClr val="black"/>
                </a:solidFill>
                <a:latin typeface="Lucida Console" panose="020B0609040504020204" pitchFamily="49" charset="0"/>
              </a:rPr>
              <a:t>)</a:t>
            </a:r>
          </a:p>
          <a:p>
            <a:r>
              <a:rPr lang="en-US">
                <a:solidFill>
                  <a:prstClr val="black"/>
                </a:solidFill>
                <a:latin typeface="Lucida Console" panose="020B0609040504020204" pitchFamily="49" charset="0"/>
              </a:rPr>
              <a:t>    </a:t>
            </a:r>
            <a:r>
              <a:rPr lang="en-US">
                <a:solidFill>
                  <a:srgbClr val="0000FF"/>
                </a:solidFill>
                <a:latin typeface="Lucida Console" panose="020B0609040504020204" pitchFamily="49" charset="0"/>
              </a:rPr>
              <a:t>Write-Host</a:t>
            </a:r>
            <a:r>
              <a:rPr lang="en-US">
                <a:solidFill>
                  <a:prstClr val="black"/>
                </a:solidFill>
                <a:latin typeface="Lucida Console" panose="020B0609040504020204" pitchFamily="49" charset="0"/>
              </a:rPr>
              <a:t> (</a:t>
            </a:r>
            <a:r>
              <a:rPr lang="en-US">
                <a:solidFill>
                  <a:srgbClr val="A82D00"/>
                </a:solidFill>
                <a:latin typeface="Lucida Console" panose="020B0609040504020204" pitchFamily="49" charset="0"/>
              </a:rPr>
              <a:t>$bam</a:t>
            </a:r>
            <a:r>
              <a:rPr lang="en-US">
                <a:solidFill>
                  <a:srgbClr val="696969"/>
                </a:solidFill>
                <a:latin typeface="Lucida Console" panose="020B0609040504020204" pitchFamily="49" charset="0"/>
              </a:rPr>
              <a:t>+</a:t>
            </a:r>
            <a:r>
              <a:rPr lang="en-US">
                <a:solidFill>
                  <a:srgbClr val="800080"/>
                </a:solidFill>
                <a:latin typeface="Lucida Console" panose="020B0609040504020204" pitchFamily="49" charset="0"/>
              </a:rPr>
              <a:t>1</a:t>
            </a:r>
            <a:r>
              <a:rPr lang="en-US">
                <a:solidFill>
                  <a:prstClr val="black"/>
                </a:solidFill>
                <a:latin typeface="Lucida Console" panose="020B0609040504020204" pitchFamily="49" charset="0"/>
              </a:rPr>
              <a:t>)</a:t>
            </a:r>
          </a:p>
          <a:p>
            <a:r>
              <a:rPr lang="en-US">
                <a:solidFill>
                  <a:prstClr val="black"/>
                </a:solidFill>
                <a:latin typeface="Lucida Console" panose="020B0609040504020204" pitchFamily="49" charset="0"/>
              </a:rPr>
              <a:t>    </a:t>
            </a:r>
            <a:r>
              <a:rPr lang="en-US">
                <a:solidFill>
                  <a:srgbClr val="0000FF"/>
                </a:solidFill>
                <a:latin typeface="Lucida Console" panose="020B0609040504020204" pitchFamily="49" charset="0"/>
              </a:rPr>
              <a:t>Get-</a:t>
            </a:r>
            <a:r>
              <a:rPr lang="en-US" err="1">
                <a:solidFill>
                  <a:srgbClr val="0000FF"/>
                </a:solidFill>
                <a:latin typeface="Lucida Console" panose="020B0609040504020204" pitchFamily="49" charset="0"/>
              </a:rPr>
              <a:t>PSCallStack</a:t>
            </a:r>
            <a:endParaRPr lang="en-US">
              <a:solidFill>
                <a:prstClr val="black"/>
              </a:solidFill>
              <a:latin typeface="Lucida Console" panose="020B0609040504020204" pitchFamily="49" charset="0"/>
            </a:endParaRPr>
          </a:p>
          <a:p>
            <a:r>
              <a:rPr lang="en-US">
                <a:solidFill>
                  <a:prstClr val="black"/>
                </a:solidFill>
                <a:latin typeface="Lucida Console" panose="020B0609040504020204" pitchFamily="49" charset="0"/>
              </a:rPr>
              <a:t>}</a:t>
            </a:r>
          </a:p>
          <a:p>
            <a:endParaRPr lang="en-US">
              <a:solidFill>
                <a:prstClr val="black"/>
              </a:solidFill>
              <a:latin typeface="Lucida Console" panose="020B0609040504020204" pitchFamily="49" charset="0"/>
            </a:endParaRPr>
          </a:p>
          <a:p>
            <a:r>
              <a:rPr lang="en-US">
                <a:solidFill>
                  <a:srgbClr val="0000FF"/>
                </a:solidFill>
                <a:latin typeface="Lucida Console" panose="020B0609040504020204" pitchFamily="49" charset="0"/>
              </a:rPr>
              <a:t>Foo</a:t>
            </a:r>
            <a:r>
              <a:rPr lang="en-US">
                <a:solidFill>
                  <a:prstClr val="black"/>
                </a:solidFill>
                <a:latin typeface="Lucida Console" panose="020B0609040504020204" pitchFamily="49" charset="0"/>
              </a:rPr>
              <a:t> </a:t>
            </a:r>
            <a:r>
              <a:rPr lang="en-US">
                <a:solidFill>
                  <a:srgbClr val="000080"/>
                </a:solidFill>
                <a:latin typeface="Lucida Console" panose="020B0609040504020204" pitchFamily="49" charset="0"/>
              </a:rPr>
              <a:t>-foo</a:t>
            </a:r>
            <a:r>
              <a:rPr lang="en-US">
                <a:solidFill>
                  <a:prstClr val="black"/>
                </a:solidFill>
                <a:latin typeface="Lucida Console" panose="020B0609040504020204" pitchFamily="49" charset="0"/>
              </a:rPr>
              <a:t> </a:t>
            </a:r>
            <a:r>
              <a:rPr lang="en-US">
                <a:solidFill>
                  <a:srgbClr val="800080"/>
                </a:solidFill>
                <a:latin typeface="Lucida Console" panose="020B0609040504020204" pitchFamily="49" charset="0"/>
              </a:rPr>
              <a:t>5 </a:t>
            </a:r>
          </a:p>
        </p:txBody>
      </p:sp>
    </p:spTree>
    <p:custDataLst>
      <p:tags r:id="rId1"/>
    </p:custDataLst>
    <p:extLst>
      <p:ext uri="{BB962C8B-B14F-4D97-AF65-F5344CB8AC3E}">
        <p14:creationId xmlns:p14="http://schemas.microsoft.com/office/powerpoint/2010/main" val="3079498047"/>
      </p:ext>
    </p:extLst>
  </p:cSld>
  <p:clrMapOvr>
    <a:masterClrMapping/>
  </p:clrMapOvr>
  <p:transition spd="slow"/>
</p:sld>
</file>

<file path=ppt/slides/slide1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Command line shortcuts</a:t>
            </a:r>
          </a:p>
        </p:txBody>
      </p:sp>
      <p:sp>
        <p:nvSpPr>
          <p:cNvPr id="4" name="Code Box">
            <a:extLst>
              <a:ext uri="{FF2B5EF4-FFF2-40B4-BE49-F238E27FC236}">
                <a16:creationId xmlns:a16="http://schemas.microsoft.com/office/drawing/2014/main" id="{7B221272-F632-4C2B-B329-BA04392E4744}"/>
              </a:ext>
            </a:extLst>
          </p:cNvPr>
          <p:cNvSpPr/>
          <p:nvPr>
            <p:custDataLst>
              <p:tags r:id="rId2"/>
            </p:custDataLst>
          </p:nvPr>
        </p:nvSpPr>
        <p:spPr>
          <a:xfrm>
            <a:off x="640080" y="1005840"/>
            <a:ext cx="10972800" cy="5486400"/>
          </a:xfrm>
          <a:prstGeom prst="rect">
            <a:avLst/>
          </a:prstGeom>
          <a:solidFill>
            <a:srgbClr val="012456"/>
          </a:solidFill>
        </p:spPr>
        <p:txBody>
          <a:bodyPr wrap="square" tIns="91440" bIns="91440">
            <a:noAutofit/>
          </a:bodyPr>
          <a:lstStyle/>
          <a:p>
            <a:r>
              <a:rPr lang="en-US" sz="1800">
                <a:solidFill>
                  <a:srgbClr val="F5F5F5"/>
                </a:solidFill>
                <a:latin typeface="Lucida Console" panose="020B0609040504020204" pitchFamily="49" charset="0"/>
              </a:rPr>
              <a:t>[DBG] PS&gt; </a:t>
            </a:r>
            <a:r>
              <a:rPr lang="en-US">
                <a:solidFill>
                  <a:srgbClr val="E0FFFF"/>
                </a:solidFill>
                <a:latin typeface="Lucida Console" panose="020B0609040504020204" pitchFamily="49" charset="0"/>
              </a:rPr>
              <a:t>?</a:t>
            </a:r>
          </a:p>
          <a:p>
            <a:r>
              <a:rPr lang="en-US" sz="1800">
                <a:solidFill>
                  <a:srgbClr val="F5F5F5"/>
                </a:solidFill>
                <a:latin typeface="Lucida Console" panose="020B0609040504020204" pitchFamily="49" charset="0"/>
              </a:rPr>
              <a:t>s, </a:t>
            </a:r>
            <a:r>
              <a:rPr lang="en-US" sz="1800" err="1">
                <a:solidFill>
                  <a:srgbClr val="F5F5F5"/>
                </a:solidFill>
                <a:latin typeface="Lucida Console" panose="020B0609040504020204" pitchFamily="49" charset="0"/>
              </a:rPr>
              <a:t>stepInto</a:t>
            </a:r>
            <a:r>
              <a:rPr lang="en-US" sz="1800">
                <a:solidFill>
                  <a:srgbClr val="F5F5F5"/>
                </a:solidFill>
                <a:latin typeface="Lucida Console" panose="020B0609040504020204" pitchFamily="49" charset="0"/>
              </a:rPr>
              <a:t>        Single step (step into functions, scripts, etc.)</a:t>
            </a:r>
          </a:p>
          <a:p>
            <a:r>
              <a:rPr lang="en-US" sz="1800">
                <a:solidFill>
                  <a:srgbClr val="F5F5F5"/>
                </a:solidFill>
                <a:latin typeface="Lucida Console" panose="020B0609040504020204" pitchFamily="49" charset="0"/>
              </a:rPr>
              <a:t>v, </a:t>
            </a:r>
            <a:r>
              <a:rPr lang="en-US" sz="1800" err="1">
                <a:solidFill>
                  <a:srgbClr val="F5F5F5"/>
                </a:solidFill>
                <a:latin typeface="Lucida Console" panose="020B0609040504020204" pitchFamily="49" charset="0"/>
              </a:rPr>
              <a:t>stepOver</a:t>
            </a:r>
            <a:r>
              <a:rPr lang="en-US" sz="1800">
                <a:solidFill>
                  <a:srgbClr val="F5F5F5"/>
                </a:solidFill>
                <a:latin typeface="Lucida Console" panose="020B0609040504020204" pitchFamily="49" charset="0"/>
              </a:rPr>
              <a:t>        Step to next statement (step over functions, scripts, etc.)</a:t>
            </a:r>
          </a:p>
          <a:p>
            <a:r>
              <a:rPr lang="en-US" sz="1800">
                <a:solidFill>
                  <a:srgbClr val="F5F5F5"/>
                </a:solidFill>
                <a:latin typeface="Lucida Console" panose="020B0609040504020204" pitchFamily="49" charset="0"/>
              </a:rPr>
              <a:t>o, </a:t>
            </a:r>
            <a:r>
              <a:rPr lang="en-US" sz="1800" err="1">
                <a:solidFill>
                  <a:srgbClr val="F5F5F5"/>
                </a:solidFill>
                <a:latin typeface="Lucida Console" panose="020B0609040504020204" pitchFamily="49" charset="0"/>
              </a:rPr>
              <a:t>stepOut</a:t>
            </a:r>
            <a:r>
              <a:rPr lang="en-US" sz="1800">
                <a:solidFill>
                  <a:srgbClr val="F5F5F5"/>
                </a:solidFill>
                <a:latin typeface="Lucida Console" panose="020B0609040504020204" pitchFamily="49" charset="0"/>
              </a:rPr>
              <a:t>         Step out of the current function, script, etc.</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c, continue        </a:t>
            </a:r>
            <a:r>
              <a:rPr lang="en-US" sz="1800" err="1">
                <a:solidFill>
                  <a:srgbClr val="F5F5F5"/>
                </a:solidFill>
                <a:latin typeface="Lucida Console" panose="020B0609040504020204" pitchFamily="49" charset="0"/>
              </a:rPr>
              <a:t>Continue</a:t>
            </a:r>
            <a:r>
              <a:rPr lang="en-US" sz="1800">
                <a:solidFill>
                  <a:srgbClr val="F5F5F5"/>
                </a:solidFill>
                <a:latin typeface="Lucida Console" panose="020B0609040504020204" pitchFamily="49" charset="0"/>
              </a:rPr>
              <a:t> operation</a:t>
            </a:r>
          </a:p>
          <a:p>
            <a:r>
              <a:rPr lang="en-US" sz="1800">
                <a:solidFill>
                  <a:srgbClr val="F5F5F5"/>
                </a:solidFill>
                <a:latin typeface="Lucida Console" panose="020B0609040504020204" pitchFamily="49" charset="0"/>
              </a:rPr>
              <a:t>q, quit            Stop operation and exit the debugger</a:t>
            </a:r>
          </a:p>
          <a:p>
            <a:r>
              <a:rPr lang="en-US" sz="1800">
                <a:solidFill>
                  <a:srgbClr val="F5F5F5"/>
                </a:solidFill>
                <a:latin typeface="Lucida Console" panose="020B0609040504020204" pitchFamily="49" charset="0"/>
              </a:rPr>
              <a:t>d, detach          Continue operation and detach the debugger.</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k, Get-</a:t>
            </a:r>
            <a:r>
              <a:rPr lang="en-US" sz="1800" err="1">
                <a:solidFill>
                  <a:srgbClr val="F5F5F5"/>
                </a:solidFill>
                <a:latin typeface="Lucida Console" panose="020B0609040504020204" pitchFamily="49" charset="0"/>
              </a:rPr>
              <a:t>PSCallStack</a:t>
            </a:r>
            <a:r>
              <a:rPr lang="en-US" sz="1800">
                <a:solidFill>
                  <a:srgbClr val="F5F5F5"/>
                </a:solidFill>
                <a:latin typeface="Lucida Console" panose="020B0609040504020204" pitchFamily="49" charset="0"/>
              </a:rPr>
              <a:t> Display call stack</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l, list            </a:t>
            </a:r>
            <a:r>
              <a:rPr lang="en-US" sz="1800" err="1">
                <a:solidFill>
                  <a:srgbClr val="F5F5F5"/>
                </a:solidFill>
                <a:latin typeface="Lucida Console" panose="020B0609040504020204" pitchFamily="49" charset="0"/>
              </a:rPr>
              <a:t>List</a:t>
            </a:r>
            <a:r>
              <a:rPr lang="en-US" sz="1800">
                <a:solidFill>
                  <a:srgbClr val="F5F5F5"/>
                </a:solidFill>
                <a:latin typeface="Lucida Console" panose="020B0609040504020204" pitchFamily="49" charset="0"/>
              </a:rPr>
              <a:t> source code for the current script.  </a:t>
            </a:r>
          </a:p>
          <a:p>
            <a:r>
              <a:rPr lang="en-US" sz="1800">
                <a:solidFill>
                  <a:srgbClr val="F5F5F5"/>
                </a:solidFill>
                <a:latin typeface="Lucida Console" panose="020B0609040504020204" pitchFamily="49" charset="0"/>
              </a:rPr>
              <a:t>                   Use "list" to start from the current line, "list &lt;m&gt;"  </a:t>
            </a:r>
          </a:p>
          <a:p>
            <a:r>
              <a:rPr lang="en-US" sz="1800">
                <a:solidFill>
                  <a:srgbClr val="F5F5F5"/>
                </a:solidFill>
                <a:latin typeface="Lucida Console" panose="020B0609040504020204" pitchFamily="49" charset="0"/>
              </a:rPr>
              <a:t>                   to start from line &lt;m&gt;, and "list &lt;m&gt; &lt;n&gt;" to list &lt;n&gt; </a:t>
            </a:r>
          </a:p>
          <a:p>
            <a:r>
              <a:rPr lang="en-US" sz="1800">
                <a:solidFill>
                  <a:srgbClr val="F5F5F5"/>
                </a:solidFill>
                <a:latin typeface="Lucida Console" panose="020B0609040504020204" pitchFamily="49" charset="0"/>
              </a:rPr>
              <a:t>                   lines starting from line &lt;m&g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lt;enter&gt;            Repeat last command if it was </a:t>
            </a:r>
            <a:r>
              <a:rPr lang="en-US" sz="1800" err="1">
                <a:solidFill>
                  <a:srgbClr val="F5F5F5"/>
                </a:solidFill>
                <a:latin typeface="Lucida Console" panose="020B0609040504020204" pitchFamily="49" charset="0"/>
              </a:rPr>
              <a:t>stepInto</a:t>
            </a:r>
            <a:r>
              <a:rPr lang="en-US" sz="1800">
                <a:solidFill>
                  <a:srgbClr val="F5F5F5"/>
                </a:solidFill>
                <a:latin typeface="Lucida Console" panose="020B0609040504020204" pitchFamily="49" charset="0"/>
              </a:rPr>
              <a:t>, </a:t>
            </a:r>
            <a:r>
              <a:rPr lang="en-US" sz="1800" err="1">
                <a:solidFill>
                  <a:srgbClr val="F5F5F5"/>
                </a:solidFill>
                <a:latin typeface="Lucida Console" panose="020B0609040504020204" pitchFamily="49" charset="0"/>
              </a:rPr>
              <a:t>stepOver</a:t>
            </a:r>
            <a:r>
              <a:rPr lang="en-US" sz="1800">
                <a:solidFill>
                  <a:srgbClr val="F5F5F5"/>
                </a:solidFill>
                <a:latin typeface="Lucida Console" panose="020B0609040504020204" pitchFamily="49" charset="0"/>
              </a:rPr>
              <a:t> or list</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h               displays this help message.</a:t>
            </a:r>
          </a:p>
        </p:txBody>
      </p:sp>
    </p:spTree>
    <p:custDataLst>
      <p:tags r:id="rId1"/>
    </p:custDataLst>
    <p:extLst>
      <p:ext uri="{BB962C8B-B14F-4D97-AF65-F5344CB8AC3E}">
        <p14:creationId xmlns:p14="http://schemas.microsoft.com/office/powerpoint/2010/main" val="331335472"/>
      </p:ext>
    </p:extLst>
  </p:cSld>
  <p:clrMapOvr>
    <a:masterClrMapping/>
  </p:clrMapOvr>
  <p:transition spd="slow"/>
</p:sld>
</file>

<file path=ppt/slides/slide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536575" y="288925"/>
            <a:ext cx="11655425" cy="900113"/>
          </a:xfrm>
        </p:spPr>
        <p:txBody>
          <a:bodyPr/>
          <a:lstStyle/>
          <a:p>
            <a:r>
              <a:rPr lang="en-US">
                <a:noFill/>
              </a:rPr>
              <a:t>Disclaimer</a:t>
            </a:r>
          </a:p>
        </p:txBody>
      </p:sp>
    </p:spTree>
    <p:custDataLst>
      <p:tags r:id="rId1"/>
    </p:custDataLst>
    <p:extLst>
      <p:ext uri="{BB962C8B-B14F-4D97-AF65-F5344CB8AC3E}">
        <p14:creationId xmlns:p14="http://schemas.microsoft.com/office/powerpoint/2010/main" val="3176379776"/>
      </p:ext>
    </p:extLst>
  </p:cSld>
  <p:clrMapOvr>
    <a:masterClrMapping/>
  </p:clrMapOvr>
  <p:transition spd="slow"/>
</p:sld>
</file>

<file path=ppt/slides/slide2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Debugging basic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4DBC6220-D162-4D75-B814-A1DA472D5A06}"/>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2364647351"/>
      </p:ext>
    </p:extLst>
  </p:cSld>
  <p:clrMapOvr>
    <a:masterClrMapping/>
  </p:clrMapOvr>
  <p:transition spd="slow"/>
</p:sld>
</file>

<file path=ppt/slides/slide2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658936565"/>
      </p:ext>
    </p:extLst>
  </p:cSld>
  <p:clrMapOvr>
    <a:masterClrMapping/>
  </p:clrMapOvr>
  <p:transition spd="slow"/>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Additional Techniques</a:t>
            </a:r>
          </a:p>
        </p:txBody>
      </p:sp>
    </p:spTree>
    <p:custDataLst>
      <p:tags r:id="rId1"/>
    </p:custDataLst>
    <p:extLst>
      <p:ext uri="{BB962C8B-B14F-4D97-AF65-F5344CB8AC3E}">
        <p14:creationId xmlns:p14="http://schemas.microsoft.com/office/powerpoint/2010/main" val="893044039"/>
      </p:ext>
    </p:extLst>
  </p:cSld>
  <p:clrMapOvr>
    <a:masterClrMapping/>
  </p:clrMapOvr>
  <p:transition spd="slow"/>
</p:sld>
</file>

<file path=ppt/slides/slide2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Writing To The Console</a:t>
            </a:r>
          </a:p>
        </p:txBody>
      </p:sp>
      <p:graphicFrame>
        <p:nvGraphicFramePr>
          <p:cNvPr id="4" name="Diagram 3">
            <a:extLst>
              <a:ext uri="{FF2B5EF4-FFF2-40B4-BE49-F238E27FC236}">
                <a16:creationId xmlns:a16="http://schemas.microsoft.com/office/drawing/2014/main" id="{30553AC0-86E7-48AD-AE50-152E2377470F}"/>
              </a:ext>
            </a:extLst>
          </p:cNvPr>
          <p:cNvGraphicFramePr/>
          <p:nvPr>
            <p:extLst>
              <p:ext uri="{D42A27DB-BD31-4B8C-83A1-F6EECF244321}">
                <p14:modId xmlns:p14="http://schemas.microsoft.com/office/powerpoint/2010/main" val="4282441912"/>
              </p:ext>
            </p:extLst>
          </p:nvPr>
        </p:nvGraphicFramePr>
        <p:xfrm>
          <a:off x="563562" y="946298"/>
          <a:ext cx="11206679" cy="559166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916806554"/>
      </p:ext>
    </p:extLst>
  </p:cSld>
  <p:clrMapOvr>
    <a:masterClrMapping/>
  </p:clrMapOvr>
  <p:transition spd="slow"/>
</p:sld>
</file>

<file path=ppt/slides/slide2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a:t>
            </a:r>
            <a:r>
              <a:rPr lang="en-US" err="1"/>
              <a:t>PSDebugContext</a:t>
            </a:r>
            <a:endParaRPr lang="en-US"/>
          </a:p>
        </p:txBody>
      </p:sp>
      <p:graphicFrame>
        <p:nvGraphicFramePr>
          <p:cNvPr id="5" name="Diagram 4">
            <a:extLst>
              <a:ext uri="{FF2B5EF4-FFF2-40B4-BE49-F238E27FC236}">
                <a16:creationId xmlns:a16="http://schemas.microsoft.com/office/drawing/2014/main" id="{52DE7AD8-4EEC-4612-A0E9-F41833470B08}"/>
              </a:ext>
            </a:extLst>
          </p:cNvPr>
          <p:cNvGraphicFramePr/>
          <p:nvPr>
            <p:extLst>
              <p:ext uri="{D42A27DB-BD31-4B8C-83A1-F6EECF244321}">
                <p14:modId xmlns:p14="http://schemas.microsoft.com/office/powerpoint/2010/main" val="2656610339"/>
              </p:ext>
            </p:extLst>
          </p:nvPr>
        </p:nvGraphicFramePr>
        <p:xfrm>
          <a:off x="640080" y="822960"/>
          <a:ext cx="10972800" cy="109728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Code Box">
            <a:extLst>
              <a:ext uri="{FF2B5EF4-FFF2-40B4-BE49-F238E27FC236}">
                <a16:creationId xmlns:a16="http://schemas.microsoft.com/office/drawing/2014/main" id="{3E8BCBAD-1899-444F-A74A-B889A67F41D6}"/>
              </a:ext>
            </a:extLst>
          </p:cNvPr>
          <p:cNvSpPr/>
          <p:nvPr>
            <p:custDataLst>
              <p:tags r:id="rId2"/>
            </p:custDataLst>
          </p:nvPr>
        </p:nvSpPr>
        <p:spPr>
          <a:xfrm>
            <a:off x="640080" y="1920240"/>
            <a:ext cx="10972800" cy="4754880"/>
          </a:xfrm>
          <a:prstGeom prst="rect">
            <a:avLst/>
          </a:prstGeom>
          <a:solidFill>
            <a:srgbClr val="012456"/>
          </a:solidFill>
        </p:spPr>
        <p:txBody>
          <a:bodyPr wrap="square" tIns="91440" bIns="91440">
            <a:noAutofit/>
          </a:bodyPr>
          <a:lstStyle/>
          <a:p>
            <a:r>
              <a:rPr lang="en-US" sz="1800">
                <a:solidFill>
                  <a:srgbClr val="F5F5F5"/>
                </a:solidFill>
                <a:latin typeface="Lucida Console" panose="020B0609040504020204" pitchFamily="49" charset="0"/>
              </a:rPr>
              <a:t>[DBG] PS&g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PSDebugContext</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InvocationInfo</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err="1">
                <a:solidFill>
                  <a:srgbClr val="F5F5F5"/>
                </a:solidFill>
                <a:latin typeface="Lucida Console" panose="020B0609040504020204" pitchFamily="49" charset="0"/>
              </a:rPr>
              <a:t>MyCommand</a:t>
            </a:r>
            <a:r>
              <a:rPr lang="en-US" sz="1800">
                <a:solidFill>
                  <a:srgbClr val="F5F5F5"/>
                </a:solidFill>
                <a:latin typeface="Lucida Console" panose="020B0609040504020204" pitchFamily="49" charset="0"/>
              </a:rPr>
              <a:t>             : </a:t>
            </a:r>
          </a:p>
          <a:p>
            <a:r>
              <a:rPr lang="en-US" sz="1800" err="1">
                <a:solidFill>
                  <a:srgbClr val="F5F5F5"/>
                </a:solidFill>
                <a:latin typeface="Lucida Console" panose="020B0609040504020204" pitchFamily="49" charset="0"/>
              </a:rPr>
              <a:t>BoundParameters</a:t>
            </a:r>
            <a:r>
              <a:rPr lang="en-US" sz="1800">
                <a:solidFill>
                  <a:srgbClr val="F5F5F5"/>
                </a:solidFill>
                <a:latin typeface="Lucida Console" panose="020B0609040504020204" pitchFamily="49" charset="0"/>
              </a:rPr>
              <a:t>       : {}</a:t>
            </a:r>
          </a:p>
          <a:p>
            <a:r>
              <a:rPr lang="en-US" sz="1800" err="1">
                <a:solidFill>
                  <a:srgbClr val="F5F5F5"/>
                </a:solidFill>
                <a:latin typeface="Lucida Console" panose="020B0609040504020204" pitchFamily="49" charset="0"/>
              </a:rPr>
              <a:t>UnboundArguments</a:t>
            </a:r>
            <a:r>
              <a:rPr lang="en-US" sz="1800">
                <a:solidFill>
                  <a:srgbClr val="F5F5F5"/>
                </a:solidFill>
                <a:latin typeface="Lucida Console" panose="020B0609040504020204" pitchFamily="49" charset="0"/>
              </a:rPr>
              <a:t>      : {}</a:t>
            </a:r>
          </a:p>
          <a:p>
            <a:r>
              <a:rPr lang="en-US" sz="1800" err="1">
                <a:solidFill>
                  <a:srgbClr val="F5F5F5"/>
                </a:solidFill>
                <a:latin typeface="Lucida Console" panose="020B0609040504020204" pitchFamily="49" charset="0"/>
              </a:rPr>
              <a:t>ScriptLineNumber</a:t>
            </a:r>
            <a:r>
              <a:rPr lang="en-US" sz="1800">
                <a:solidFill>
                  <a:srgbClr val="F5F5F5"/>
                </a:solidFill>
                <a:latin typeface="Lucida Console" panose="020B0609040504020204" pitchFamily="49" charset="0"/>
              </a:rPr>
              <a:t>      : 23</a:t>
            </a:r>
          </a:p>
          <a:p>
            <a:r>
              <a:rPr lang="en-US" sz="1800" err="1">
                <a:solidFill>
                  <a:srgbClr val="F5F5F5"/>
                </a:solidFill>
                <a:latin typeface="Lucida Console" panose="020B0609040504020204" pitchFamily="49" charset="0"/>
              </a:rPr>
              <a:t>OffsetInLine</a:t>
            </a:r>
            <a:r>
              <a:rPr lang="en-US" sz="1800">
                <a:solidFill>
                  <a:srgbClr val="F5F5F5"/>
                </a:solidFill>
                <a:latin typeface="Lucida Console" panose="020B0609040504020204" pitchFamily="49" charset="0"/>
              </a:rPr>
              <a:t>          : 5</a:t>
            </a:r>
          </a:p>
          <a:p>
            <a:r>
              <a:rPr lang="en-US" sz="1800" err="1">
                <a:solidFill>
                  <a:srgbClr val="F5F5F5"/>
                </a:solidFill>
                <a:latin typeface="Lucida Console" panose="020B0609040504020204" pitchFamily="49" charset="0"/>
              </a:rPr>
              <a:t>HistoryId</a:t>
            </a:r>
            <a:r>
              <a:rPr lang="en-US" sz="1800">
                <a:solidFill>
                  <a:srgbClr val="F5F5F5"/>
                </a:solidFill>
                <a:latin typeface="Lucida Console" panose="020B0609040504020204" pitchFamily="49" charset="0"/>
              </a:rPr>
              <a:t>             : 27</a:t>
            </a:r>
          </a:p>
          <a:p>
            <a:r>
              <a:rPr lang="en-US" sz="1800" err="1">
                <a:solidFill>
                  <a:srgbClr val="F5F5F5"/>
                </a:solidFill>
                <a:latin typeface="Lucida Console" panose="020B0609040504020204" pitchFamily="49" charset="0"/>
              </a:rPr>
              <a:t>ScriptName</a:t>
            </a:r>
            <a:r>
              <a:rPr lang="en-US" sz="1800">
                <a:solidFill>
                  <a:srgbClr val="F5F5F5"/>
                </a:solidFill>
                <a:latin typeface="Lucida Console" panose="020B0609040504020204" pitchFamily="49" charset="0"/>
              </a:rPr>
              <a:t>            : C:\CallStack.ps1</a:t>
            </a:r>
          </a:p>
          <a:p>
            <a:r>
              <a:rPr lang="en-US" sz="1800">
                <a:solidFill>
                  <a:srgbClr val="F5F5F5"/>
                </a:solidFill>
                <a:latin typeface="Lucida Console" panose="020B0609040504020204" pitchFamily="49" charset="0"/>
              </a:rPr>
              <a:t>Line                  : Get-</a:t>
            </a:r>
            <a:r>
              <a:rPr lang="en-US" sz="1800" err="1">
                <a:solidFill>
                  <a:srgbClr val="F5F5F5"/>
                </a:solidFill>
                <a:latin typeface="Lucida Console" panose="020B0609040504020204" pitchFamily="49" charset="0"/>
              </a:rPr>
              <a:t>PSCallStack</a:t>
            </a:r>
            <a:r>
              <a:rPr lang="en-US" sz="1800">
                <a:solidFill>
                  <a:srgbClr val="F5F5F5"/>
                </a:solidFill>
                <a:latin typeface="Lucida Console" panose="020B0609040504020204" pitchFamily="49" charset="0"/>
              </a:rPr>
              <a:t>                     </a:t>
            </a:r>
          </a:p>
          <a:p>
            <a:r>
              <a:rPr lang="en-US" sz="1800" err="1">
                <a:solidFill>
                  <a:srgbClr val="F5F5F5"/>
                </a:solidFill>
                <a:latin typeface="Lucida Console" panose="020B0609040504020204" pitchFamily="49" charset="0"/>
              </a:rPr>
              <a:t>PositionMessage</a:t>
            </a:r>
            <a:r>
              <a:rPr lang="en-US" sz="1800">
                <a:solidFill>
                  <a:srgbClr val="F5F5F5"/>
                </a:solidFill>
                <a:latin typeface="Lucida Console" panose="020B0609040504020204" pitchFamily="49" charset="0"/>
              </a:rPr>
              <a:t>       : At C:\CallStack.ps1:23 char:5</a:t>
            </a:r>
          </a:p>
          <a:p>
            <a:r>
              <a:rPr lang="en-US" sz="1800">
                <a:solidFill>
                  <a:srgbClr val="F5F5F5"/>
                </a:solidFill>
                <a:latin typeface="Lucida Console" panose="020B0609040504020204" pitchFamily="49" charset="0"/>
              </a:rPr>
              <a:t>                        +     Get-</a:t>
            </a:r>
            <a:r>
              <a:rPr lang="en-US" sz="1800" err="1">
                <a:solidFill>
                  <a:srgbClr val="F5F5F5"/>
                </a:solidFill>
                <a:latin typeface="Lucida Console" panose="020B0609040504020204" pitchFamily="49" charset="0"/>
              </a:rPr>
              <a:t>PSCallStack</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     ~~~~~~~~~~~~~~~</a:t>
            </a:r>
          </a:p>
          <a:p>
            <a:r>
              <a:rPr lang="en-US" sz="1800" err="1">
                <a:solidFill>
                  <a:srgbClr val="F5F5F5"/>
                </a:solidFill>
                <a:latin typeface="Lucida Console" panose="020B0609040504020204" pitchFamily="49" charset="0"/>
              </a:rPr>
              <a:t>PSScriptRoot</a:t>
            </a:r>
            <a:r>
              <a:rPr lang="en-US" sz="1800">
                <a:solidFill>
                  <a:srgbClr val="F5F5F5"/>
                </a:solidFill>
                <a:latin typeface="Lucida Console" panose="020B0609040504020204" pitchFamily="49" charset="0"/>
              </a:rPr>
              <a:t>          : C:\</a:t>
            </a:r>
          </a:p>
          <a:p>
            <a:r>
              <a:rPr lang="en-US" sz="1800" err="1">
                <a:solidFill>
                  <a:srgbClr val="F5F5F5"/>
                </a:solidFill>
                <a:latin typeface="Lucida Console" panose="020B0609040504020204" pitchFamily="49" charset="0"/>
              </a:rPr>
              <a:t>PSCommandPath</a:t>
            </a:r>
            <a:r>
              <a:rPr lang="en-US" sz="1800">
                <a:solidFill>
                  <a:srgbClr val="F5F5F5"/>
                </a:solidFill>
                <a:latin typeface="Lucida Console" panose="020B0609040504020204" pitchFamily="49" charset="0"/>
              </a:rPr>
              <a:t>         : C:\CallStack.ps1</a:t>
            </a:r>
          </a:p>
          <a:p>
            <a:r>
              <a:rPr lang="en-US" sz="1800" err="1">
                <a:solidFill>
                  <a:srgbClr val="F5F5F5"/>
                </a:solidFill>
                <a:latin typeface="Lucida Console" panose="020B0609040504020204" pitchFamily="49" charset="0"/>
              </a:rPr>
              <a:t>ExpectingInput</a:t>
            </a:r>
            <a:r>
              <a:rPr lang="en-US" sz="1800">
                <a:solidFill>
                  <a:srgbClr val="F5F5F5"/>
                </a:solidFill>
                <a:latin typeface="Lucida Console" panose="020B0609040504020204" pitchFamily="49" charset="0"/>
              </a:rPr>
              <a:t>        : False</a:t>
            </a:r>
          </a:p>
          <a:p>
            <a:r>
              <a:rPr lang="en-US" sz="1800" err="1">
                <a:solidFill>
                  <a:srgbClr val="F5F5F5"/>
                </a:solidFill>
                <a:latin typeface="Lucida Console" panose="020B0609040504020204" pitchFamily="49" charset="0"/>
              </a:rPr>
              <a:t>CommandOrigin</a:t>
            </a:r>
            <a:r>
              <a:rPr lang="en-US" sz="1800">
                <a:solidFill>
                  <a:srgbClr val="F5F5F5"/>
                </a:solidFill>
                <a:latin typeface="Lucida Console" panose="020B0609040504020204" pitchFamily="49" charset="0"/>
              </a:rPr>
              <a:t>         : Internal</a:t>
            </a:r>
          </a:p>
        </p:txBody>
      </p:sp>
    </p:spTree>
    <p:custDataLst>
      <p:tags r:id="rId1"/>
    </p:custDataLst>
    <p:extLst>
      <p:ext uri="{BB962C8B-B14F-4D97-AF65-F5344CB8AC3E}">
        <p14:creationId xmlns:p14="http://schemas.microsoft.com/office/powerpoint/2010/main" val="1384625904"/>
      </p:ext>
    </p:extLst>
  </p:cSld>
  <p:clrMapOvr>
    <a:masterClrMapping/>
  </p:clrMapOvr>
  <p:transition spd="slow"/>
</p:sld>
</file>

<file path=ppt/slides/slide2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30">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Debugging Cmdlets</a:t>
            </a:r>
          </a:p>
        </p:txBody>
      </p:sp>
    </p:spTree>
    <p:custDataLst>
      <p:tags r:id="rId1"/>
    </p:custDataLst>
    <p:extLst>
      <p:ext uri="{BB962C8B-B14F-4D97-AF65-F5344CB8AC3E}">
        <p14:creationId xmlns:p14="http://schemas.microsoft.com/office/powerpoint/2010/main" val="3094490415"/>
      </p:ext>
    </p:extLst>
  </p:cSld>
  <p:clrMapOvr>
    <a:masterClrMapping/>
  </p:clrMapOvr>
  <p:transition spd="slow"/>
</p:sld>
</file>

<file path=ppt/slides/slide2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Cmdlets</a:t>
            </a:r>
          </a:p>
        </p:txBody>
      </p:sp>
      <p:graphicFrame>
        <p:nvGraphicFramePr>
          <p:cNvPr id="7" name="Text Placeholder 2">
            <a:extLst>
              <a:ext uri="{FF2B5EF4-FFF2-40B4-BE49-F238E27FC236}">
                <a16:creationId xmlns:a16="http://schemas.microsoft.com/office/drawing/2014/main" id="{7368B303-CF16-4220-B838-8FA9A1A56F31}"/>
              </a:ext>
            </a:extLst>
          </p:cNvPr>
          <p:cNvGraphicFramePr/>
          <p:nvPr>
            <p:extLst>
              <p:ext uri="{D42A27DB-BD31-4B8C-83A1-F6EECF244321}">
                <p14:modId xmlns:p14="http://schemas.microsoft.com/office/powerpoint/2010/main" val="3093390401"/>
              </p:ext>
            </p:extLst>
          </p:nvPr>
        </p:nvGraphicFramePr>
        <p:xfrm>
          <a:off x="640080" y="1005840"/>
          <a:ext cx="10972800" cy="5486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91370200"/>
      </p:ext>
    </p:extLst>
  </p:cSld>
  <p:clrMapOvr>
    <a:masterClrMapping/>
  </p:clrMapOvr>
  <p:transition spd="slow"/>
</p:sld>
</file>

<file path=ppt/slides/slide2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Set-</a:t>
            </a:r>
            <a:r>
              <a:rPr lang="en-US" err="1"/>
              <a:t>StrictMode</a:t>
            </a:r>
            <a:endParaRPr lang="en-US"/>
          </a:p>
        </p:txBody>
      </p:sp>
      <p:graphicFrame>
        <p:nvGraphicFramePr>
          <p:cNvPr id="7" name="Text Placeholder 2">
            <a:extLst>
              <a:ext uri="{FF2B5EF4-FFF2-40B4-BE49-F238E27FC236}">
                <a16:creationId xmlns:a16="http://schemas.microsoft.com/office/drawing/2014/main" id="{7368B303-CF16-4220-B838-8FA9A1A56F31}"/>
              </a:ext>
            </a:extLst>
          </p:cNvPr>
          <p:cNvGraphicFramePr/>
          <p:nvPr>
            <p:extLst>
              <p:ext uri="{D42A27DB-BD31-4B8C-83A1-F6EECF244321}">
                <p14:modId xmlns:p14="http://schemas.microsoft.com/office/powerpoint/2010/main" val="2195053512"/>
              </p:ext>
            </p:extLst>
          </p:nvPr>
        </p:nvGraphicFramePr>
        <p:xfrm>
          <a:off x="563563" y="886480"/>
          <a:ext cx="10972800" cy="565148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42654875"/>
      </p:ext>
    </p:extLst>
  </p:cSld>
  <p:clrMapOvr>
    <a:masterClrMapping/>
  </p:clrMapOvr>
  <p:transition spd="slow"/>
</p:sld>
</file>

<file path=ppt/slides/slide2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Example: Set-</a:t>
            </a:r>
            <a:r>
              <a:rPr lang="en-US" err="1"/>
              <a:t>StrictMode</a:t>
            </a:r>
            <a:endParaRPr lang="en-US"/>
          </a:p>
        </p:txBody>
      </p:sp>
      <p:sp>
        <p:nvSpPr>
          <p:cNvPr id="4" name="Code Box">
            <a:extLst>
              <a:ext uri="{FF2B5EF4-FFF2-40B4-BE49-F238E27FC236}">
                <a16:creationId xmlns:a16="http://schemas.microsoft.com/office/drawing/2014/main" id="{3E8BCBAD-1899-444F-A74A-B889A67F41D6}"/>
              </a:ext>
            </a:extLst>
          </p:cNvPr>
          <p:cNvSpPr/>
          <p:nvPr>
            <p:custDataLst>
              <p:tags r:id="rId2"/>
            </p:custDataLst>
          </p:nvPr>
        </p:nvSpPr>
        <p:spPr>
          <a:xfrm>
            <a:off x="640080" y="914400"/>
            <a:ext cx="10972800" cy="5852160"/>
          </a:xfrm>
          <a:prstGeom prst="rect">
            <a:avLst/>
          </a:prstGeom>
          <a:solidFill>
            <a:srgbClr val="012456"/>
          </a:solidFill>
        </p:spPr>
        <p:txBody>
          <a:bodyPr wrap="square" tIns="91440" bIns="91440">
            <a:noAutofit/>
          </a:bodyPr>
          <a:lstStyle/>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Var</a:t>
            </a:r>
          </a:p>
          <a:p>
            <a:endParaRPr lang="en-US" sz="1800">
              <a:solidFill>
                <a:srgbClr val="FF4500"/>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Var</a:t>
            </a:r>
            <a:r>
              <a:rPr lang="en-US" sz="1800">
                <a:solidFill>
                  <a:srgbClr val="F5F5F5"/>
                </a:solidFill>
                <a:latin typeface="Lucida Console" panose="020B0609040504020204" pitchFamily="49" charset="0"/>
              </a:rPr>
              <a:t> </a:t>
            </a:r>
            <a:r>
              <a:rPr lang="en-US"/>
              <a:t> </a:t>
            </a:r>
            <a:r>
              <a:rPr lang="en-US" sz="1800">
                <a:solidFill>
                  <a:srgbClr val="D3D3D3"/>
                </a:solidFill>
                <a:latin typeface="Lucida Console" panose="020B0609040504020204" pitchFamily="49" charset="0"/>
              </a:rPr>
              <a:t>=</a:t>
            </a:r>
            <a:r>
              <a:rPr lang="en-US" sz="1800">
                <a:solidFill>
                  <a:srgbClr val="F5F5F5"/>
                </a:solidFill>
                <a:latin typeface="Lucida Console" panose="020B0609040504020204" pitchFamily="49" charset="0"/>
              </a:rPr>
              <a:t> </a:t>
            </a:r>
            <a:r>
              <a:rPr lang="en-US" sz="1800">
                <a:solidFill>
                  <a:srgbClr val="FFE4C4"/>
                </a:solidFill>
                <a:latin typeface="Lucida Console" panose="020B0609040504020204" pitchFamily="49" charset="0"/>
              </a:rPr>
              <a:t>0</a:t>
            </a:r>
            <a:r>
              <a:rPr lang="en-US" sz="1800">
                <a:solidFill>
                  <a:srgbClr val="D3D3D3"/>
                </a:solidFill>
                <a:latin typeface="Lucida Console" panose="020B0609040504020204" pitchFamily="49" charset="0"/>
              </a:rPr>
              <a:t>..</a:t>
            </a:r>
            <a:r>
              <a:rPr lang="en-US" sz="1800">
                <a:solidFill>
                  <a:srgbClr val="FFE4C4"/>
                </a:solidFill>
                <a:latin typeface="Lucida Console" panose="020B0609040504020204" pitchFamily="49" charset="0"/>
              </a:rPr>
              <a:t>5 </a:t>
            </a:r>
            <a:endParaRPr lang="en-US" sz="1800">
              <a:solidFill>
                <a:srgbClr val="DB7093"/>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a:t>
            </a:r>
            <a:r>
              <a:rPr lang="en-US" err="1">
                <a:solidFill>
                  <a:srgbClr val="FF4500"/>
                </a:solidFill>
                <a:latin typeface="Lucida Console" panose="020B0609040504020204" pitchFamily="49" charset="0"/>
              </a:rPr>
              <a:t>V</a:t>
            </a:r>
            <a:r>
              <a:rPr lang="en-US" sz="1800" err="1">
                <a:solidFill>
                  <a:srgbClr val="FF4500"/>
                </a:solidFill>
                <a:latin typeface="Lucida Console" panose="020B0609040504020204" pitchFamily="49" charset="0"/>
              </a:rPr>
              <a:t>ar</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FakeProperty</a:t>
            </a:r>
            <a:endParaRPr lang="en-US">
              <a:solidFill>
                <a:srgbClr val="F5F5F5"/>
              </a:solidFill>
              <a:latin typeface="Lucida Console" panose="020B0609040504020204" pitchFamily="49" charset="0"/>
            </a:endParaRP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Var</a:t>
            </a:r>
            <a:r>
              <a:rPr lang="en-US" sz="1800">
                <a:solidFill>
                  <a:srgbClr val="D3D3D3"/>
                </a:solidFill>
                <a:latin typeface="Lucida Console" panose="020B0609040504020204" pitchFamily="49" charset="0"/>
              </a:rPr>
              <a:t>[</a:t>
            </a:r>
            <a:r>
              <a:rPr lang="en-US" sz="1800">
                <a:solidFill>
                  <a:srgbClr val="FFE4C4"/>
                </a:solidFill>
                <a:latin typeface="Lucida Console" panose="020B0609040504020204" pitchFamily="49" charset="0"/>
              </a:rPr>
              <a:t>100</a:t>
            </a:r>
            <a:r>
              <a:rPr lang="en-US" sz="1800">
                <a:solidFill>
                  <a:srgbClr val="D3D3D3"/>
                </a:solidFill>
                <a:latin typeface="Lucida Console" panose="020B0609040504020204" pitchFamily="49" charset="0"/>
              </a:rPr>
              <a:t>] </a:t>
            </a:r>
          </a:p>
          <a:p>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E0FFFF"/>
                </a:solidFill>
                <a:latin typeface="Lucida Console" panose="020B0609040504020204" pitchFamily="49" charset="0"/>
              </a:rPr>
              <a:t>Set-</a:t>
            </a:r>
            <a:r>
              <a:rPr lang="en-US" sz="1800" err="1">
                <a:solidFill>
                  <a:srgbClr val="E0FFFF"/>
                </a:solidFill>
                <a:latin typeface="Lucida Console" panose="020B0609040504020204" pitchFamily="49" charset="0"/>
              </a:rPr>
              <a:t>StrictMode</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Version</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latest</a:t>
            </a:r>
          </a:p>
          <a:p>
            <a:endParaRPr lang="en-US" sz="1800">
              <a:solidFill>
                <a:srgbClr val="EE82EE"/>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Var</a:t>
            </a:r>
            <a:r>
              <a:rPr lang="en-US" sz="1800">
                <a:solidFill>
                  <a:srgbClr val="D3D3D3"/>
                </a:solidFill>
                <a:latin typeface="Lucida Console" panose="020B0609040504020204" pitchFamily="49" charset="0"/>
              </a:rPr>
              <a:t>[</a:t>
            </a:r>
            <a:r>
              <a:rPr lang="en-US" sz="1800">
                <a:solidFill>
                  <a:srgbClr val="FFE4C4"/>
                </a:solidFill>
                <a:latin typeface="Lucida Console" panose="020B0609040504020204" pitchFamily="49" charset="0"/>
              </a:rPr>
              <a:t>100</a:t>
            </a:r>
            <a:r>
              <a:rPr lang="en-US" sz="1800">
                <a:solidFill>
                  <a:srgbClr val="D3D3D3"/>
                </a:solidFill>
                <a:latin typeface="Lucida Console" panose="020B0609040504020204" pitchFamily="49" charset="0"/>
              </a:rPr>
              <a:t>] </a:t>
            </a:r>
          </a:p>
          <a:p>
            <a:r>
              <a:rPr lang="en-US" sz="1800">
                <a:solidFill>
                  <a:srgbClr val="FF9494"/>
                </a:solidFill>
                <a:latin typeface="Lucida Console" panose="020B0609040504020204" pitchFamily="49" charset="0"/>
              </a:rPr>
              <a:t>Index was outside the bounds of the array.</a:t>
            </a:r>
          </a:p>
          <a:p>
            <a:r>
              <a:rPr lang="en-US" sz="1800">
                <a:solidFill>
                  <a:srgbClr val="FF9494"/>
                </a:solidFill>
                <a:latin typeface="Lucida Console" panose="020B0609040504020204" pitchFamily="49" charset="0"/>
              </a:rPr>
              <a:t>At line:1 char:1 </a:t>
            </a:r>
          </a:p>
          <a:p>
            <a:endParaRPr lang="en-US" sz="1800">
              <a:solidFill>
                <a:srgbClr val="D3D3D3"/>
              </a:solidFill>
              <a:latin typeface="Lucida Console" panose="020B0609040504020204" pitchFamily="49" charset="0"/>
            </a:endParaRPr>
          </a:p>
          <a:p>
            <a:r>
              <a:rPr lang="en-US" sz="1800">
                <a:solidFill>
                  <a:srgbClr val="F5F5F5"/>
                </a:solidFill>
                <a:latin typeface="Lucida Console" panose="020B0609040504020204" pitchFamily="49" charset="0"/>
              </a:rPr>
              <a:t>PS&gt; </a:t>
            </a:r>
            <a:r>
              <a:rPr lang="en-US" sz="1800">
                <a:solidFill>
                  <a:srgbClr val="FF4500"/>
                </a:solidFill>
                <a:latin typeface="Lucida Console" panose="020B0609040504020204" pitchFamily="49" charset="0"/>
              </a:rPr>
              <a:t>$</a:t>
            </a:r>
            <a:r>
              <a:rPr lang="en-US" err="1">
                <a:solidFill>
                  <a:srgbClr val="FF4500"/>
                </a:solidFill>
                <a:latin typeface="Lucida Console" panose="020B0609040504020204" pitchFamily="49" charset="0"/>
              </a:rPr>
              <a:t>V</a:t>
            </a:r>
            <a:r>
              <a:rPr lang="en-US" sz="1800" err="1">
                <a:solidFill>
                  <a:srgbClr val="FF4500"/>
                </a:solidFill>
                <a:latin typeface="Lucida Console" panose="020B0609040504020204" pitchFamily="49" charset="0"/>
              </a:rPr>
              <a:t>ar</a:t>
            </a:r>
            <a:r>
              <a:rPr lang="en-US" sz="1800" err="1">
                <a:solidFill>
                  <a:srgbClr val="D3D3D3"/>
                </a:solidFill>
                <a:latin typeface="Lucida Console" panose="020B0609040504020204" pitchFamily="49" charset="0"/>
              </a:rPr>
              <a:t>.</a:t>
            </a:r>
            <a:r>
              <a:rPr lang="en-US" sz="1800" err="1">
                <a:solidFill>
                  <a:srgbClr val="F5F5F5"/>
                </a:solidFill>
                <a:latin typeface="Lucida Console" panose="020B0609040504020204" pitchFamily="49" charset="0"/>
              </a:rPr>
              <a:t>FakeProperty</a:t>
            </a:r>
            <a:endParaRPr lang="en-US">
              <a:solidFill>
                <a:srgbClr val="F5F5F5"/>
              </a:solidFill>
              <a:latin typeface="Lucida Console" panose="020B0609040504020204" pitchFamily="49" charset="0"/>
            </a:endParaRPr>
          </a:p>
          <a:p>
            <a:r>
              <a:rPr lang="en-US" sz="1800">
                <a:solidFill>
                  <a:srgbClr val="FF9494"/>
                </a:solidFill>
                <a:latin typeface="Lucida Console" panose="020B0609040504020204" pitchFamily="49" charset="0"/>
              </a:rPr>
              <a:t>The property '</a:t>
            </a:r>
            <a:r>
              <a:rPr lang="en-US" sz="1800" err="1">
                <a:solidFill>
                  <a:srgbClr val="FF9494"/>
                </a:solidFill>
                <a:latin typeface="Lucida Console" panose="020B0609040504020204" pitchFamily="49" charset="0"/>
              </a:rPr>
              <a:t>FakeProperty</a:t>
            </a:r>
            <a:r>
              <a:rPr lang="en-US" sz="1800">
                <a:solidFill>
                  <a:srgbClr val="FF9494"/>
                </a:solidFill>
                <a:latin typeface="Lucida Console" panose="020B0609040504020204" pitchFamily="49" charset="0"/>
              </a:rPr>
              <a:t>' cannot be found on this object. </a:t>
            </a:r>
          </a:p>
          <a:p>
            <a:r>
              <a:rPr lang="en-US" sz="1800">
                <a:solidFill>
                  <a:srgbClr val="FF9494"/>
                </a:solidFill>
                <a:latin typeface="Lucida Console" panose="020B0609040504020204" pitchFamily="49" charset="0"/>
              </a:rPr>
              <a:t>Verify that the property exists. </a:t>
            </a:r>
          </a:p>
          <a:p>
            <a:endParaRPr lang="en-US" sz="1800">
              <a:solidFill>
                <a:srgbClr val="EE82EE"/>
              </a:solidFill>
              <a:latin typeface="Lucida Console" panose="020B0609040504020204" pitchFamily="49" charset="0"/>
            </a:endParaRPr>
          </a:p>
          <a:p>
            <a:r>
              <a:rPr lang="en-US" sz="1800">
                <a:solidFill>
                  <a:srgbClr val="F5F5F5"/>
                </a:solidFill>
                <a:latin typeface="Lucida Console" panose="020B0609040504020204" pitchFamily="49" charset="0"/>
              </a:rPr>
              <a:t>PS&gt;</a:t>
            </a:r>
            <a:r>
              <a:rPr lang="en-US" sz="1800">
                <a:solidFill>
                  <a:srgbClr val="EE82EE"/>
                </a:solidFill>
                <a:latin typeface="Lucida Console" panose="020B0609040504020204" pitchFamily="49" charset="0"/>
              </a:rPr>
              <a:t> </a:t>
            </a:r>
            <a:r>
              <a:rPr lang="en-US" sz="1800">
                <a:solidFill>
                  <a:srgbClr val="FF4500"/>
                </a:solidFill>
                <a:latin typeface="Lucida Console" panose="020B0609040504020204" pitchFamily="49" charset="0"/>
              </a:rPr>
              <a:t>$</a:t>
            </a:r>
            <a:r>
              <a:rPr lang="en-US" sz="1800" err="1">
                <a:solidFill>
                  <a:srgbClr val="FF4500"/>
                </a:solidFill>
                <a:latin typeface="Lucida Console" panose="020B0609040504020204" pitchFamily="49" charset="0"/>
              </a:rPr>
              <a:t>DoesNotExist</a:t>
            </a:r>
            <a:endParaRPr lang="en-US" sz="1800">
              <a:solidFill>
                <a:srgbClr val="EE82EE"/>
              </a:solidFill>
              <a:latin typeface="Lucida Console" panose="020B0609040504020204" pitchFamily="49" charset="0"/>
            </a:endParaRPr>
          </a:p>
          <a:p>
            <a:r>
              <a:rPr lang="en-US" sz="1800">
                <a:solidFill>
                  <a:srgbClr val="FF9494"/>
                </a:solidFill>
                <a:latin typeface="Lucida Console" panose="020B0609040504020204" pitchFamily="49" charset="0"/>
              </a:rPr>
              <a:t>The variable '$</a:t>
            </a:r>
            <a:r>
              <a:rPr lang="en-US" sz="1800" err="1">
                <a:solidFill>
                  <a:srgbClr val="FF9494"/>
                </a:solidFill>
                <a:latin typeface="Lucida Console" panose="020B0609040504020204" pitchFamily="49" charset="0"/>
              </a:rPr>
              <a:t>DoesNotExist</a:t>
            </a:r>
            <a:r>
              <a:rPr lang="en-US" sz="1800">
                <a:solidFill>
                  <a:srgbClr val="FF9494"/>
                </a:solidFill>
                <a:latin typeface="Lucida Console" panose="020B0609040504020204" pitchFamily="49" charset="0"/>
              </a:rPr>
              <a:t>' cannot be retrieved because it has not been set. </a:t>
            </a:r>
            <a:endParaRPr lang="en-US" sz="1800">
              <a:solidFill>
                <a:srgbClr val="F5F5F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3895123004"/>
      </p:ext>
    </p:extLst>
  </p:cSld>
  <p:clrMapOvr>
    <a:masterClrMapping/>
  </p:clrMapOvr>
  <p:transition spd="slow"/>
</p:sld>
</file>

<file path=ppt/slides/slide2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Trace Data</a:t>
            </a:r>
          </a:p>
        </p:txBody>
      </p:sp>
      <p:graphicFrame>
        <p:nvGraphicFramePr>
          <p:cNvPr id="7" name="Text Placeholder 2">
            <a:extLst>
              <a:ext uri="{FF2B5EF4-FFF2-40B4-BE49-F238E27FC236}">
                <a16:creationId xmlns:a16="http://schemas.microsoft.com/office/drawing/2014/main" id="{7368B303-CF16-4220-B838-8FA9A1A56F31}"/>
              </a:ext>
            </a:extLst>
          </p:cNvPr>
          <p:cNvGraphicFramePr/>
          <p:nvPr>
            <p:extLst>
              <p:ext uri="{D42A27DB-BD31-4B8C-83A1-F6EECF244321}">
                <p14:modId xmlns:p14="http://schemas.microsoft.com/office/powerpoint/2010/main" val="1500304401"/>
              </p:ext>
            </p:extLst>
          </p:nvPr>
        </p:nvGraphicFramePr>
        <p:xfrm>
          <a:off x="640080" y="1005840"/>
          <a:ext cx="10972800" cy="5486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090656438"/>
      </p:ext>
    </p:extLst>
  </p:cSld>
  <p:clrMapOvr>
    <a:masterClrMapping/>
  </p:clrMapOvr>
  <p:transition spd="slow"/>
</p:sld>
</file>

<file path=ppt/slides/slide3.xml><?xml version="1.0" encoding="utf-8"?>
<p:sld xmlns:a16="http://schemas.microsoft.com/office/drawing/2014/main" xmlns:p14="http://schemas.microsoft.com/office/powerpoint/2010/main" xmlns:dgm="http://schemas.openxmlformats.org/drawingml/2006/diagram" xmlns:p188="http://schemas.microsoft.com/office/powerpoint/2018/8/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Learnings covered in this Unit</a:t>
            </a:r>
          </a:p>
        </p:txBody>
      </p:sp>
      <p:graphicFrame>
        <p:nvGraphicFramePr>
          <p:cNvPr id="7" name="Text Placeholder 2">
            <a:extLst>
              <a:ext uri="{FF2B5EF4-FFF2-40B4-BE49-F238E27FC236}">
                <a16:creationId xmlns:a16="http://schemas.microsoft.com/office/drawing/2014/main" id="{7368B303-CF16-4220-B838-8FA9A1A56F31}"/>
              </a:ext>
            </a:extLst>
          </p:cNvPr>
          <p:cNvGraphicFramePr/>
          <p:nvPr>
            <p:extLst>
              <p:ext uri="{D42A27DB-BD31-4B8C-83A1-F6EECF244321}">
                <p14:modId xmlns:p14="http://schemas.microsoft.com/office/powerpoint/2010/main" val="3531231900"/>
              </p:ext>
            </p:extLst>
          </p:nvPr>
        </p:nvGraphicFramePr>
        <p:xfrm>
          <a:off x="655638" y="983973"/>
          <a:ext cx="10880726" cy="547646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706938236"/>
      </p:ext>
    </p:extLst>
  </p:cSld>
  <p:clrMapOvr>
    <a:masterClrMapping/>
  </p:clrMapOvr>
  <p:transition spd="slow"/>
  <p:extLst>
    <p:ext uri="{6950BFC3-D8DA-4A85-94F7-54DA5524770B}">
      <p188:commentRel xmlns:p188="http://schemas.microsoft.com/office/powerpoint/2018/8/main" r:id="rId4"/>
    </p:ext>
  </p:extLst>
</p:sld>
</file>

<file path=ppt/slides/slide3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0211747-ADD0-49BD-A009-A5A60A858524}"/>
              </a:ext>
            </a:extLst>
          </p:cNvPr>
          <p:cNvSpPr>
            <a:spLocks noGrp="1"/>
          </p:cNvSpPr>
          <p:nvPr>
            <p:ph type="title"/>
          </p:nvPr>
        </p:nvSpPr>
        <p:spPr/>
        <p:txBody>
          <a:bodyPr/>
          <a:lstStyle/>
          <a:p>
            <a:r>
              <a:rPr lang="en-US"/>
              <a:t>Example: Trace parameter binding</a:t>
            </a:r>
          </a:p>
        </p:txBody>
      </p:sp>
      <p:sp>
        <p:nvSpPr>
          <p:cNvPr id="4" name="Code Box">
            <a:extLst>
              <a:ext uri="{FF2B5EF4-FFF2-40B4-BE49-F238E27FC236}">
                <a16:creationId xmlns:a16="http://schemas.microsoft.com/office/drawing/2014/main" id="{61CAFAC0-A886-498C-A5DF-4B89C26EF42D}"/>
              </a:ext>
            </a:extLst>
          </p:cNvPr>
          <p:cNvSpPr/>
          <p:nvPr>
            <p:custDataLst>
              <p:tags r:id="rId2"/>
            </p:custDataLst>
          </p:nvPr>
        </p:nvSpPr>
        <p:spPr>
          <a:xfrm>
            <a:off x="182880" y="878986"/>
            <a:ext cx="11795760" cy="5862286"/>
          </a:xfrm>
          <a:prstGeom prst="rect">
            <a:avLst/>
          </a:prstGeom>
          <a:solidFill>
            <a:srgbClr val="012456"/>
          </a:solidFill>
        </p:spPr>
        <p:txBody>
          <a:bodyPr wrap="square" tIns="91440" bIns="91440">
            <a:noAutofit/>
          </a:bodyPr>
          <a:lstStyle/>
          <a:p>
            <a:r>
              <a:rPr lang="en-US" sz="1800">
                <a:solidFill>
                  <a:srgbClr val="F5F5F5"/>
                </a:solidFill>
                <a:latin typeface="Lucida Console" panose="020B0609040504020204" pitchFamily="49" charset="0"/>
              </a:rPr>
              <a:t>PS&gt;</a:t>
            </a:r>
            <a:r>
              <a:rPr lang="en-US"/>
              <a:t> </a:t>
            </a:r>
            <a:r>
              <a:rPr lang="en-US" sz="1800">
                <a:solidFill>
                  <a:srgbClr val="E0FFFF"/>
                </a:solidFill>
                <a:latin typeface="Lucida Console" panose="020B0609040504020204" pitchFamily="49" charset="0"/>
              </a:rPr>
              <a:t>Trace-Command</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a:t>
            </a:r>
            <a:r>
              <a:rPr lang="en-US" sz="1800" err="1">
                <a:solidFill>
                  <a:srgbClr val="FFE4B5"/>
                </a:solidFill>
                <a:latin typeface="Lucida Console" panose="020B0609040504020204" pitchFamily="49" charset="0"/>
              </a:rPr>
              <a:t>PSHost</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Expression</a:t>
            </a:r>
            <a:r>
              <a:rPr lang="en-US" sz="1800">
                <a:solidFill>
                  <a:srgbClr val="F5F5F5"/>
                </a:solidFill>
                <a:latin typeface="Lucida Console" panose="020B0609040504020204" pitchFamily="49" charset="0"/>
              </a:rPr>
              <a:t> {</a:t>
            </a:r>
            <a:r>
              <a:rPr lang="en-US" sz="1800">
                <a:solidFill>
                  <a:srgbClr val="E0FFFF"/>
                </a:solidFill>
                <a:latin typeface="Lucida Console" panose="020B0609040504020204" pitchFamily="49" charset="0"/>
              </a:rPr>
              <a:t>Start-Process</a:t>
            </a:r>
            <a:r>
              <a:rPr lang="en-US" sz="1800">
                <a:solidFill>
                  <a:srgbClr val="F5F5F5"/>
                </a:solidFill>
                <a:latin typeface="Lucida Console" panose="020B0609040504020204" pitchFamily="49" charset="0"/>
              </a:rPr>
              <a:t> </a:t>
            </a:r>
            <a:r>
              <a:rPr lang="en-US" sz="1800">
                <a:solidFill>
                  <a:srgbClr val="EE82EE"/>
                </a:solidFill>
                <a:latin typeface="Lucida Console" panose="020B0609040504020204" pitchFamily="49" charset="0"/>
              </a:rPr>
              <a:t>Notepad</a:t>
            </a:r>
            <a:r>
              <a:rPr lang="en-US" sz="1800">
                <a:solidFill>
                  <a:srgbClr val="F5F5F5"/>
                </a:solidFill>
                <a:latin typeface="Lucida Console" panose="020B0609040504020204" pitchFamily="49" charset="0"/>
              </a:rPr>
              <a:t>} </a:t>
            </a:r>
            <a:r>
              <a:rPr lang="en-US" sz="1800">
                <a:solidFill>
                  <a:srgbClr val="FFE4B5"/>
                </a:solidFill>
                <a:latin typeface="Lucida Console" panose="020B0609040504020204" pitchFamily="49" charset="0"/>
              </a:rPr>
              <a:t>-Name</a:t>
            </a:r>
            <a:r>
              <a:rPr lang="en-US" sz="1800">
                <a:solidFill>
                  <a:srgbClr val="F5F5F5"/>
                </a:solidFill>
                <a:latin typeface="Lucida Console" panose="020B0609040504020204" pitchFamily="49" charset="0"/>
              </a:rPr>
              <a:t> </a:t>
            </a:r>
            <a:r>
              <a:rPr lang="en-US" sz="1800" err="1">
                <a:solidFill>
                  <a:srgbClr val="EE82EE"/>
                </a:solidFill>
                <a:latin typeface="Lucida Console" panose="020B0609040504020204" pitchFamily="49" charset="0"/>
              </a:rPr>
              <a:t>ParameterBinding</a:t>
            </a:r>
            <a:endParaRPr lang="en-US" sz="1800">
              <a:solidFill>
                <a:srgbClr val="F5F5F5"/>
              </a:solidFill>
              <a:latin typeface="Lucida Console" panose="020B0609040504020204" pitchFamily="49" charset="0"/>
            </a:endParaRPr>
          </a:p>
          <a:p>
            <a:r>
              <a:rPr lang="en-US" sz="1800">
                <a:solidFill>
                  <a:srgbClr val="F5F5F5"/>
                </a:solidFill>
                <a:latin typeface="Lucida Console" panose="020B0609040504020204" pitchFamily="49" charset="0"/>
              </a:rPr>
              <a:t> </a:t>
            </a:r>
          </a:p>
          <a:p>
            <a:r>
              <a:rPr lang="en-US" sz="1800">
                <a:solidFill>
                  <a:srgbClr val="00FFFF"/>
                </a:solidFill>
                <a:latin typeface="Lucida Console" panose="020B0609040504020204" pitchFamily="49" charset="0"/>
              </a:rPr>
              <a:t>DEBUG: </a:t>
            </a:r>
            <a:r>
              <a:rPr lang="en-US" sz="1800" err="1">
                <a:solidFill>
                  <a:srgbClr val="00FFFF"/>
                </a:solidFill>
                <a:latin typeface="Lucida Console" panose="020B0609040504020204" pitchFamily="49" charset="0"/>
              </a:rPr>
              <a:t>ParameterBinding</a:t>
            </a:r>
            <a:r>
              <a:rPr lang="en-US" sz="1800">
                <a:solidFill>
                  <a:srgbClr val="00FFFF"/>
                </a:solidFill>
                <a:latin typeface="Lucida Console" panose="020B0609040504020204" pitchFamily="49" charset="0"/>
              </a:rPr>
              <a:t> Information: 0 : BIND NAMED </a:t>
            </a:r>
            <a:r>
              <a:rPr lang="en-US" sz="1800" err="1">
                <a:solidFill>
                  <a:srgbClr val="00FFFF"/>
                </a:solidFill>
                <a:latin typeface="Lucida Console" panose="020B0609040504020204" pitchFamily="49" charset="0"/>
              </a:rPr>
              <a:t>cmd</a:t>
            </a:r>
            <a:r>
              <a:rPr lang="en-US" sz="1800">
                <a:solidFill>
                  <a:srgbClr val="00FFFF"/>
                </a:solidFill>
                <a:latin typeface="Lucida Console" panose="020B0609040504020204" pitchFamily="49" charset="0"/>
              </a:rPr>
              <a:t> line </a:t>
            </a:r>
            <a:r>
              <a:rPr lang="en-US" sz="1800" err="1">
                <a:solidFill>
                  <a:srgbClr val="00FFFF"/>
                </a:solidFill>
                <a:latin typeface="Lucida Console" panose="020B0609040504020204" pitchFamily="49" charset="0"/>
              </a:rPr>
              <a:t>args</a:t>
            </a:r>
            <a:r>
              <a:rPr lang="en-US" sz="1800">
                <a:solidFill>
                  <a:srgbClr val="00FFFF"/>
                </a:solidFill>
                <a:latin typeface="Lucida Console" panose="020B0609040504020204" pitchFamily="49" charset="0"/>
              </a:rPr>
              <a:t> [Start-Process]</a:t>
            </a:r>
          </a:p>
          <a:p>
            <a:endParaRPr lang="en-US" sz="1800">
              <a:solidFill>
                <a:srgbClr val="00FFFF"/>
              </a:solidFill>
              <a:latin typeface="Lucida Console" panose="020B0609040504020204" pitchFamily="49" charset="0"/>
            </a:endParaRPr>
          </a:p>
          <a:p>
            <a:r>
              <a:rPr lang="en-US" sz="1800">
                <a:solidFill>
                  <a:srgbClr val="00FFFF"/>
                </a:solidFill>
                <a:latin typeface="Lucida Console" panose="020B0609040504020204" pitchFamily="49" charset="0"/>
              </a:rPr>
              <a:t>DEBUG: </a:t>
            </a:r>
            <a:r>
              <a:rPr lang="en-US" sz="1800" err="1">
                <a:solidFill>
                  <a:srgbClr val="00FFFF"/>
                </a:solidFill>
                <a:latin typeface="Lucida Console" panose="020B0609040504020204" pitchFamily="49" charset="0"/>
              </a:rPr>
              <a:t>ParameterBinding</a:t>
            </a:r>
            <a:r>
              <a:rPr lang="en-US" sz="1800">
                <a:solidFill>
                  <a:srgbClr val="00FFFF"/>
                </a:solidFill>
                <a:latin typeface="Lucida Console" panose="020B0609040504020204" pitchFamily="49" charset="0"/>
              </a:rPr>
              <a:t> Information: 0 : BIND POSITIONAL </a:t>
            </a:r>
            <a:r>
              <a:rPr lang="en-US" sz="1800" err="1">
                <a:solidFill>
                  <a:srgbClr val="00FFFF"/>
                </a:solidFill>
                <a:latin typeface="Lucida Console" panose="020B0609040504020204" pitchFamily="49" charset="0"/>
              </a:rPr>
              <a:t>cmd</a:t>
            </a:r>
            <a:r>
              <a:rPr lang="en-US" sz="1800">
                <a:solidFill>
                  <a:srgbClr val="00FFFF"/>
                </a:solidFill>
                <a:latin typeface="Lucida Console" panose="020B0609040504020204" pitchFamily="49" charset="0"/>
              </a:rPr>
              <a:t> line </a:t>
            </a:r>
            <a:r>
              <a:rPr lang="en-US" sz="1800" err="1">
                <a:solidFill>
                  <a:srgbClr val="00FFFF"/>
                </a:solidFill>
                <a:latin typeface="Lucida Console" panose="020B0609040504020204" pitchFamily="49" charset="0"/>
              </a:rPr>
              <a:t>args</a:t>
            </a:r>
            <a:r>
              <a:rPr lang="en-US" sz="1800">
                <a:solidFill>
                  <a:srgbClr val="00FFFF"/>
                </a:solidFill>
                <a:latin typeface="Lucida Console" panose="020B0609040504020204" pitchFamily="49" charset="0"/>
              </a:rPr>
              <a:t> </a:t>
            </a:r>
          </a:p>
          <a:p>
            <a:r>
              <a:rPr lang="en-US">
                <a:solidFill>
                  <a:srgbClr val="00FFFF"/>
                </a:solidFill>
                <a:latin typeface="Lucida Console" panose="020B0609040504020204" pitchFamily="49" charset="0"/>
              </a:rPr>
              <a:t>					        </a:t>
            </a:r>
            <a:r>
              <a:rPr lang="en-US" sz="1800">
                <a:solidFill>
                  <a:srgbClr val="00FFFF"/>
                </a:solidFill>
                <a:latin typeface="Lucida Console" panose="020B0609040504020204" pitchFamily="49" charset="0"/>
              </a:rPr>
              <a:t>[Start-Process]</a:t>
            </a:r>
          </a:p>
          <a:p>
            <a:endParaRPr lang="en-US" sz="1800">
              <a:solidFill>
                <a:srgbClr val="00FFFF"/>
              </a:solidFill>
              <a:latin typeface="Lucida Console" panose="020B0609040504020204" pitchFamily="49" charset="0"/>
            </a:endParaRPr>
          </a:p>
          <a:p>
            <a:r>
              <a:rPr lang="en-US" sz="1800">
                <a:solidFill>
                  <a:srgbClr val="00FFFF"/>
                </a:solidFill>
                <a:latin typeface="Lucida Console" panose="020B0609040504020204" pitchFamily="49" charset="0"/>
              </a:rPr>
              <a:t>DEBUG: </a:t>
            </a:r>
            <a:r>
              <a:rPr lang="en-US" sz="1800" err="1">
                <a:solidFill>
                  <a:srgbClr val="00FFFF"/>
                </a:solidFill>
                <a:latin typeface="Lucida Console" panose="020B0609040504020204" pitchFamily="49" charset="0"/>
              </a:rPr>
              <a:t>ParameterBinding</a:t>
            </a:r>
            <a:r>
              <a:rPr lang="en-US" sz="1800">
                <a:solidFill>
                  <a:srgbClr val="00FFFF"/>
                </a:solidFill>
                <a:latin typeface="Lucida Console" panose="020B0609040504020204" pitchFamily="49" charset="0"/>
              </a:rPr>
              <a:t> Information: 0 : BIND </a:t>
            </a:r>
            <a:r>
              <a:rPr lang="en-US" sz="1800" err="1">
                <a:solidFill>
                  <a:srgbClr val="00FFFF"/>
                </a:solidFill>
                <a:latin typeface="Lucida Console" panose="020B0609040504020204" pitchFamily="49" charset="0"/>
              </a:rPr>
              <a:t>arg</a:t>
            </a:r>
            <a:r>
              <a:rPr lang="en-US" sz="1800">
                <a:solidFill>
                  <a:srgbClr val="00FFFF"/>
                </a:solidFill>
                <a:latin typeface="Lucida Console" panose="020B0609040504020204" pitchFamily="49" charset="0"/>
              </a:rPr>
              <a:t> [Notepad] to parameter [</a:t>
            </a:r>
            <a:r>
              <a:rPr lang="en-US" sz="1800" err="1">
                <a:solidFill>
                  <a:srgbClr val="00FFFF"/>
                </a:solidFill>
                <a:latin typeface="Lucida Console" panose="020B0609040504020204" pitchFamily="49" charset="0"/>
              </a:rPr>
              <a:t>FilePath</a:t>
            </a:r>
            <a:r>
              <a:rPr lang="en-US" sz="1800">
                <a:solidFill>
                  <a:srgbClr val="00FFFF"/>
                </a:solidFill>
                <a:latin typeface="Lucida Console" panose="020B0609040504020204" pitchFamily="49" charset="0"/>
              </a:rPr>
              <a:t>]</a:t>
            </a:r>
          </a:p>
          <a:p>
            <a:endParaRPr lang="en-US" sz="1800">
              <a:solidFill>
                <a:srgbClr val="00FFFF"/>
              </a:solidFill>
              <a:latin typeface="Lucida Console" panose="020B0609040504020204" pitchFamily="49" charset="0"/>
            </a:endParaRPr>
          </a:p>
          <a:p>
            <a:r>
              <a:rPr lang="en-US" sz="1800">
                <a:solidFill>
                  <a:srgbClr val="00FFFF"/>
                </a:solidFill>
                <a:latin typeface="Lucida Console" panose="020B0609040504020204" pitchFamily="49" charset="0"/>
              </a:rPr>
              <a:t>DEBUG: </a:t>
            </a:r>
            <a:r>
              <a:rPr lang="en-US" sz="1800" err="1">
                <a:solidFill>
                  <a:srgbClr val="00FFFF"/>
                </a:solidFill>
                <a:latin typeface="Lucida Console" panose="020B0609040504020204" pitchFamily="49" charset="0"/>
              </a:rPr>
              <a:t>ParameterBinding</a:t>
            </a:r>
            <a:r>
              <a:rPr lang="en-US" sz="1800">
                <a:solidFill>
                  <a:srgbClr val="00FFFF"/>
                </a:solidFill>
                <a:latin typeface="Lucida Console" panose="020B0609040504020204" pitchFamily="49" charset="0"/>
              </a:rPr>
              <a:t> Information: 0 : Executing VALIDATION metadata: 					  [</a:t>
            </a:r>
            <a:r>
              <a:rPr lang="en-US" sz="1800" err="1">
                <a:solidFill>
                  <a:srgbClr val="00FFFF"/>
                </a:solidFill>
                <a:latin typeface="Lucida Console" panose="020B0609040504020204" pitchFamily="49" charset="0"/>
              </a:rPr>
              <a:t>System.Management.Automation.ValidateNotNullOrEmptyAttribute</a:t>
            </a:r>
            <a:r>
              <a:rPr lang="en-US" sz="1800">
                <a:solidFill>
                  <a:srgbClr val="00FFFF"/>
                </a:solidFill>
                <a:latin typeface="Lucida Console" panose="020B0609040504020204" pitchFamily="49" charset="0"/>
              </a:rPr>
              <a:t>]</a:t>
            </a:r>
          </a:p>
          <a:p>
            <a:endParaRPr lang="en-US" sz="1800">
              <a:solidFill>
                <a:srgbClr val="00FFFF"/>
              </a:solidFill>
              <a:latin typeface="Lucida Console" panose="020B0609040504020204" pitchFamily="49" charset="0"/>
            </a:endParaRPr>
          </a:p>
          <a:p>
            <a:r>
              <a:rPr lang="en-US" sz="1800">
                <a:solidFill>
                  <a:srgbClr val="00FFFF"/>
                </a:solidFill>
                <a:latin typeface="Lucida Console" panose="020B0609040504020204" pitchFamily="49" charset="0"/>
              </a:rPr>
              <a:t>DEBUG: </a:t>
            </a:r>
            <a:r>
              <a:rPr lang="en-US" sz="1800" err="1">
                <a:solidFill>
                  <a:srgbClr val="00FFFF"/>
                </a:solidFill>
                <a:latin typeface="Lucida Console" panose="020B0609040504020204" pitchFamily="49" charset="0"/>
              </a:rPr>
              <a:t>ParameterBinding</a:t>
            </a:r>
            <a:r>
              <a:rPr lang="en-US" sz="1800">
                <a:solidFill>
                  <a:srgbClr val="00FFFF"/>
                </a:solidFill>
                <a:latin typeface="Lucida Console" panose="020B0609040504020204" pitchFamily="49" charset="0"/>
              </a:rPr>
              <a:t> Information: 0 : BIND </a:t>
            </a:r>
            <a:r>
              <a:rPr lang="en-US" sz="1800" err="1">
                <a:solidFill>
                  <a:srgbClr val="00FFFF"/>
                </a:solidFill>
                <a:latin typeface="Lucida Console" panose="020B0609040504020204" pitchFamily="49" charset="0"/>
              </a:rPr>
              <a:t>arg</a:t>
            </a:r>
            <a:r>
              <a:rPr lang="en-US" sz="1800">
                <a:solidFill>
                  <a:srgbClr val="00FFFF"/>
                </a:solidFill>
                <a:latin typeface="Lucida Console" panose="020B0609040504020204" pitchFamily="49" charset="0"/>
              </a:rPr>
              <a:t> [Notepad] to param [</a:t>
            </a:r>
            <a:r>
              <a:rPr lang="en-US" sz="1800" err="1">
                <a:solidFill>
                  <a:srgbClr val="00FFFF"/>
                </a:solidFill>
                <a:latin typeface="Lucida Console" panose="020B0609040504020204" pitchFamily="49" charset="0"/>
              </a:rPr>
              <a:t>FilePath</a:t>
            </a:r>
            <a:r>
              <a:rPr lang="en-US" sz="1800">
                <a:solidFill>
                  <a:srgbClr val="00FFFF"/>
                </a:solidFill>
                <a:latin typeface="Lucida Console" panose="020B0609040504020204" pitchFamily="49" charset="0"/>
              </a:rPr>
              <a:t>]                						 SUCCESSFUL</a:t>
            </a:r>
          </a:p>
          <a:p>
            <a:endParaRPr lang="en-US" sz="1800">
              <a:solidFill>
                <a:srgbClr val="00FFFF"/>
              </a:solidFill>
              <a:latin typeface="Lucida Console" panose="020B0609040504020204" pitchFamily="49" charset="0"/>
            </a:endParaRPr>
          </a:p>
          <a:p>
            <a:r>
              <a:rPr lang="en-US" sz="1800">
                <a:solidFill>
                  <a:srgbClr val="00FFFF"/>
                </a:solidFill>
                <a:latin typeface="Lucida Console" panose="020B0609040504020204" pitchFamily="49" charset="0"/>
              </a:rPr>
              <a:t>DEBUG: </a:t>
            </a:r>
            <a:r>
              <a:rPr lang="en-US" sz="1800" err="1">
                <a:solidFill>
                  <a:srgbClr val="00FFFF"/>
                </a:solidFill>
                <a:latin typeface="Lucida Console" panose="020B0609040504020204" pitchFamily="49" charset="0"/>
              </a:rPr>
              <a:t>ParameterBinding</a:t>
            </a:r>
            <a:r>
              <a:rPr lang="en-US" sz="1800">
                <a:solidFill>
                  <a:srgbClr val="00FFFF"/>
                </a:solidFill>
                <a:latin typeface="Lucida Console" panose="020B0609040504020204" pitchFamily="49" charset="0"/>
              </a:rPr>
              <a:t> Information: 0 : MANDATORY PARAMETER CHECK on cmdlet </a:t>
            </a:r>
          </a:p>
          <a:p>
            <a:r>
              <a:rPr lang="en-US">
                <a:solidFill>
                  <a:srgbClr val="00FFFF"/>
                </a:solidFill>
                <a:latin typeface="Lucida Console" panose="020B0609040504020204" pitchFamily="49" charset="0"/>
              </a:rPr>
              <a:t>						 </a:t>
            </a:r>
            <a:r>
              <a:rPr lang="en-US" sz="1800">
                <a:solidFill>
                  <a:srgbClr val="00FFFF"/>
                </a:solidFill>
                <a:latin typeface="Lucida Console" panose="020B0609040504020204" pitchFamily="49" charset="0"/>
              </a:rPr>
              <a:t>[Start-Process]</a:t>
            </a:r>
          </a:p>
          <a:p>
            <a:endParaRPr lang="en-US" sz="1800">
              <a:solidFill>
                <a:srgbClr val="00FFFF"/>
              </a:solidFill>
              <a:latin typeface="Lucida Console" panose="020B0609040504020204" pitchFamily="49" charset="0"/>
            </a:endParaRPr>
          </a:p>
          <a:p>
            <a:r>
              <a:rPr lang="en-US" sz="1800">
                <a:solidFill>
                  <a:srgbClr val="00FFFF"/>
                </a:solidFill>
                <a:latin typeface="Lucida Console" panose="020B0609040504020204" pitchFamily="49" charset="0"/>
              </a:rPr>
              <a:t>DEBUG: </a:t>
            </a:r>
            <a:r>
              <a:rPr lang="en-US" sz="1800" err="1">
                <a:solidFill>
                  <a:srgbClr val="00FFFF"/>
                </a:solidFill>
                <a:latin typeface="Lucida Console" panose="020B0609040504020204" pitchFamily="49" charset="0"/>
              </a:rPr>
              <a:t>ParameterBinding</a:t>
            </a:r>
            <a:r>
              <a:rPr lang="en-US" sz="1800">
                <a:solidFill>
                  <a:srgbClr val="00FFFF"/>
                </a:solidFill>
                <a:latin typeface="Lucida Console" panose="020B0609040504020204" pitchFamily="49" charset="0"/>
              </a:rPr>
              <a:t> Information: 0 : CALLING </a:t>
            </a:r>
            <a:r>
              <a:rPr lang="en-US" sz="1800" err="1">
                <a:solidFill>
                  <a:srgbClr val="00FFFF"/>
                </a:solidFill>
                <a:latin typeface="Lucida Console" panose="020B0609040504020204" pitchFamily="49" charset="0"/>
              </a:rPr>
              <a:t>BeginProcessing</a:t>
            </a:r>
            <a:endParaRPr lang="en-US" sz="1800">
              <a:solidFill>
                <a:srgbClr val="00FFFF"/>
              </a:solidFill>
              <a:latin typeface="Lucida Console" panose="020B0609040504020204" pitchFamily="49" charset="0"/>
            </a:endParaRPr>
          </a:p>
          <a:p>
            <a:endParaRPr lang="en-US" sz="1800">
              <a:solidFill>
                <a:srgbClr val="00FFFF"/>
              </a:solidFill>
              <a:latin typeface="Lucida Console" panose="020B0609040504020204" pitchFamily="49" charset="0"/>
            </a:endParaRPr>
          </a:p>
          <a:p>
            <a:r>
              <a:rPr lang="en-US" sz="1800">
                <a:solidFill>
                  <a:srgbClr val="00FFFF"/>
                </a:solidFill>
                <a:latin typeface="Lucida Console" panose="020B0609040504020204" pitchFamily="49" charset="0"/>
              </a:rPr>
              <a:t>DEBUG: </a:t>
            </a:r>
            <a:r>
              <a:rPr lang="en-US" sz="1800" err="1">
                <a:solidFill>
                  <a:srgbClr val="00FFFF"/>
                </a:solidFill>
                <a:latin typeface="Lucida Console" panose="020B0609040504020204" pitchFamily="49" charset="0"/>
              </a:rPr>
              <a:t>ParameterBinding</a:t>
            </a:r>
            <a:r>
              <a:rPr lang="en-US" sz="1800">
                <a:solidFill>
                  <a:srgbClr val="00FFFF"/>
                </a:solidFill>
                <a:latin typeface="Lucida Console" panose="020B0609040504020204" pitchFamily="49" charset="0"/>
              </a:rPr>
              <a:t> Information: 0 : CALLING </a:t>
            </a:r>
            <a:r>
              <a:rPr lang="en-US" sz="1800" err="1">
                <a:solidFill>
                  <a:srgbClr val="00FFFF"/>
                </a:solidFill>
                <a:latin typeface="Lucida Console" panose="020B0609040504020204" pitchFamily="49" charset="0"/>
              </a:rPr>
              <a:t>EndProcessing</a:t>
            </a:r>
            <a:r>
              <a:rPr lang="en-US" sz="1800">
                <a:solidFill>
                  <a:srgbClr val="00FFFF"/>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1611510080"/>
      </p:ext>
    </p:extLst>
  </p:cSld>
  <p:clrMapOvr>
    <a:masterClrMapping/>
  </p:clrMapOvr>
  <p:transition spd="slow"/>
</p:sld>
</file>

<file path=ppt/slides/slide3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Set-</a:t>
            </a:r>
            <a:r>
              <a:rPr lang="en-US" err="1"/>
              <a:t>PSDebug</a:t>
            </a:r>
            <a:endParaRPr lang="en-US"/>
          </a:p>
        </p:txBody>
      </p:sp>
      <p:graphicFrame>
        <p:nvGraphicFramePr>
          <p:cNvPr id="7" name="Text Placeholder 2">
            <a:extLst>
              <a:ext uri="{FF2B5EF4-FFF2-40B4-BE49-F238E27FC236}">
                <a16:creationId xmlns:a16="http://schemas.microsoft.com/office/drawing/2014/main" id="{7368B303-CF16-4220-B838-8FA9A1A56F31}"/>
              </a:ext>
            </a:extLst>
          </p:cNvPr>
          <p:cNvGraphicFramePr/>
          <p:nvPr>
            <p:extLst>
              <p:ext uri="{D42A27DB-BD31-4B8C-83A1-F6EECF244321}">
                <p14:modId xmlns:p14="http://schemas.microsoft.com/office/powerpoint/2010/main" val="1171321134"/>
              </p:ext>
            </p:extLst>
          </p:nvPr>
        </p:nvGraphicFramePr>
        <p:xfrm>
          <a:off x="640080" y="1005840"/>
          <a:ext cx="10972800" cy="27432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Code Box">
            <a:extLst>
              <a:ext uri="{FF2B5EF4-FFF2-40B4-BE49-F238E27FC236}">
                <a16:creationId xmlns:a16="http://schemas.microsoft.com/office/drawing/2014/main" id="{6BE92B9B-294D-4012-93B9-C8AB3A0259BE}"/>
              </a:ext>
            </a:extLst>
          </p:cNvPr>
          <p:cNvSpPr/>
          <p:nvPr>
            <p:custDataLst>
              <p:tags r:id="rId2"/>
            </p:custDataLst>
          </p:nvPr>
        </p:nvSpPr>
        <p:spPr>
          <a:xfrm>
            <a:off x="4389120" y="3836504"/>
            <a:ext cx="7223760" cy="2930055"/>
          </a:xfrm>
          <a:prstGeom prst="rect">
            <a:avLst/>
          </a:prstGeom>
          <a:solidFill>
            <a:srgbClr val="012456"/>
          </a:solidFill>
        </p:spPr>
        <p:txBody>
          <a:bodyPr wrap="square" tIns="91440" bIns="91440">
            <a:noAutofit/>
          </a:bodyPr>
          <a:lstStyle/>
          <a:p>
            <a:r>
              <a:rPr lang="da-DK" sz="1800">
                <a:solidFill>
                  <a:srgbClr val="00FFFF"/>
                </a:solidFill>
                <a:latin typeface="Lucida Console" panose="020B0609040504020204" pitchFamily="49" charset="0"/>
              </a:rPr>
              <a:t>DEBUG:  1+  &gt;&gt;&gt;&gt; Set-PSDebug -Trace 2</a:t>
            </a:r>
            <a:endParaRPr lang="en-US" sz="1800">
              <a:solidFill>
                <a:srgbClr val="00FFFF"/>
              </a:solidFill>
              <a:latin typeface="Lucida Console" panose="020B0609040504020204" pitchFamily="49" charset="0"/>
            </a:endParaRPr>
          </a:p>
          <a:p>
            <a:r>
              <a:rPr lang="en-US" sz="1800">
                <a:solidFill>
                  <a:srgbClr val="00FFFF"/>
                </a:solidFill>
                <a:latin typeface="Lucida Console" panose="020B0609040504020204" pitchFamily="49" charset="0"/>
              </a:rPr>
              <a:t>DEBUG:   ! CALL function '&lt;</a:t>
            </a:r>
            <a:r>
              <a:rPr lang="en-US" sz="1800" err="1">
                <a:solidFill>
                  <a:srgbClr val="00FFFF"/>
                </a:solidFill>
                <a:latin typeface="Lucida Console" panose="020B0609040504020204" pitchFamily="49" charset="0"/>
              </a:rPr>
              <a:t>ScriptBlock</a:t>
            </a:r>
            <a:r>
              <a:rPr lang="en-US" sz="1800">
                <a:solidFill>
                  <a:srgbClr val="00FFFF"/>
                </a:solidFill>
                <a:latin typeface="Lucida Console" panose="020B0609040504020204" pitchFamily="49" charset="0"/>
              </a:rPr>
              <a:t>&gt;'</a:t>
            </a:r>
          </a:p>
          <a:p>
            <a:r>
              <a:rPr lang="en-US" sz="1800">
                <a:solidFill>
                  <a:srgbClr val="00FFFF"/>
                </a:solidFill>
                <a:latin typeface="Lucida Console" panose="020B0609040504020204" pitchFamily="49" charset="0"/>
              </a:rPr>
              <a:t>DEBUG:  5+  &gt;&gt;&gt;&gt; Foo</a:t>
            </a:r>
          </a:p>
          <a:p>
            <a:r>
              <a:rPr lang="en-US" sz="1800">
                <a:solidFill>
                  <a:srgbClr val="00FFFF"/>
                </a:solidFill>
                <a:latin typeface="Lucida Console" panose="020B0609040504020204" pitchFamily="49" charset="0"/>
              </a:rPr>
              <a:t>DEBUG:  3+ Function Foo &gt;&gt;&gt;&gt; {Write-Host "Foo"}</a:t>
            </a:r>
          </a:p>
          <a:p>
            <a:r>
              <a:rPr lang="en-US" sz="1800">
                <a:solidFill>
                  <a:srgbClr val="00FFFF"/>
                </a:solidFill>
                <a:latin typeface="Lucida Console" panose="020B0609040504020204" pitchFamily="49" charset="0"/>
              </a:rPr>
              <a:t>DEBUG:   ! CALL function 'Foo'</a:t>
            </a:r>
          </a:p>
          <a:p>
            <a:r>
              <a:rPr lang="en-US" sz="1800">
                <a:solidFill>
                  <a:srgbClr val="00FFFF"/>
                </a:solidFill>
                <a:latin typeface="Lucida Console" panose="020B0609040504020204" pitchFamily="49" charset="0"/>
              </a:rPr>
              <a:t>DEBUG:  3+ Function Foo{ &gt;&gt;&gt;&gt; Write-Host "Foo"}</a:t>
            </a:r>
          </a:p>
          <a:p>
            <a:r>
              <a:rPr lang="en-US" sz="1800">
                <a:solidFill>
                  <a:schemeClr val="bg1"/>
                </a:solidFill>
                <a:latin typeface="Lucida Console" panose="020B0609040504020204" pitchFamily="49" charset="0"/>
              </a:rPr>
              <a:t>Foo</a:t>
            </a:r>
          </a:p>
          <a:p>
            <a:r>
              <a:rPr lang="en-US" sz="1800">
                <a:solidFill>
                  <a:srgbClr val="00FFFF"/>
                </a:solidFill>
                <a:latin typeface="Lucida Console" panose="020B0609040504020204" pitchFamily="49" charset="0"/>
              </a:rPr>
              <a:t>DEBUG:  3+ Function Foo {Write-Host "Foo" &gt;&gt;&gt;&gt; }</a:t>
            </a:r>
          </a:p>
          <a:p>
            <a:r>
              <a:rPr lang="en-US" sz="1800">
                <a:solidFill>
                  <a:srgbClr val="00FFFF"/>
                </a:solidFill>
                <a:latin typeface="Lucida Console" panose="020B0609040504020204" pitchFamily="49" charset="0"/>
              </a:rPr>
              <a:t>DEBUG:  7+  &gt;&gt;&gt;&gt; $Var = “</a:t>
            </a:r>
            <a:r>
              <a:rPr lang="en-US">
                <a:solidFill>
                  <a:srgbClr val="00FFFF"/>
                </a:solidFill>
                <a:latin typeface="Lucida Console" panose="020B0609040504020204" pitchFamily="49" charset="0"/>
              </a:rPr>
              <a:t>He</a:t>
            </a:r>
            <a:r>
              <a:rPr lang="en-US" sz="1800">
                <a:solidFill>
                  <a:srgbClr val="00FFFF"/>
                </a:solidFill>
                <a:latin typeface="Lucida Console" panose="020B0609040504020204" pitchFamily="49" charset="0"/>
              </a:rPr>
              <a:t>llo World"</a:t>
            </a:r>
          </a:p>
          <a:p>
            <a:r>
              <a:rPr lang="en-US" sz="1800">
                <a:solidFill>
                  <a:srgbClr val="00FFFF"/>
                </a:solidFill>
                <a:latin typeface="Lucida Console" panose="020B0609040504020204" pitchFamily="49" charset="0"/>
              </a:rPr>
              <a:t>DEBUG:   ! SET $Var = ‘Hello </a:t>
            </a:r>
            <a:r>
              <a:rPr lang="en-US">
                <a:solidFill>
                  <a:srgbClr val="00FFFF"/>
                </a:solidFill>
                <a:latin typeface="Lucida Console" panose="020B0609040504020204" pitchFamily="49" charset="0"/>
              </a:rPr>
              <a:t>W</a:t>
            </a:r>
            <a:r>
              <a:rPr lang="en-US" sz="1800">
                <a:solidFill>
                  <a:srgbClr val="00FFFF"/>
                </a:solidFill>
                <a:latin typeface="Lucida Console" panose="020B0609040504020204" pitchFamily="49" charset="0"/>
              </a:rPr>
              <a:t>orld'. </a:t>
            </a:r>
          </a:p>
        </p:txBody>
      </p:sp>
      <p:sp>
        <p:nvSpPr>
          <p:cNvPr id="5" name="Code Box">
            <a:extLst>
              <a:ext uri="{FF2B5EF4-FFF2-40B4-BE49-F238E27FC236}">
                <a16:creationId xmlns:a16="http://schemas.microsoft.com/office/drawing/2014/main" id="{DE780830-B2A8-4920-B304-0BE357D89892}"/>
              </a:ext>
            </a:extLst>
          </p:cNvPr>
          <p:cNvSpPr/>
          <p:nvPr>
            <p:custDataLst>
              <p:tags r:id="rId3"/>
            </p:custDataLst>
          </p:nvPr>
        </p:nvSpPr>
        <p:spPr>
          <a:xfrm>
            <a:off x="640080" y="3840480"/>
            <a:ext cx="3657600" cy="2930055"/>
          </a:xfrm>
          <a:prstGeom prst="rect">
            <a:avLst/>
          </a:prstGeom>
          <a:solidFill>
            <a:schemeClr val="tx2">
              <a:lumMod val="20000"/>
              <a:lumOff val="80000"/>
            </a:schemeClr>
          </a:solidFill>
        </p:spPr>
        <p:txBody>
          <a:bodyPr wrap="square" tIns="91440" bIns="91440">
            <a:noAutofit/>
          </a:bodyPr>
          <a:lstStyle/>
          <a:p>
            <a:r>
              <a:rPr lang="en-US" sz="1800">
                <a:solidFill>
                  <a:srgbClr val="0000FF"/>
                </a:solidFill>
                <a:latin typeface="Lucida Console" panose="020B0609040504020204" pitchFamily="49" charset="0"/>
              </a:rPr>
              <a:t>Set-</a:t>
            </a:r>
            <a:r>
              <a:rPr lang="en-US" sz="1800" err="1">
                <a:solidFill>
                  <a:srgbClr val="0000FF"/>
                </a:solidFill>
                <a:latin typeface="Lucida Console" panose="020B0609040504020204" pitchFamily="49" charset="0"/>
              </a:rPr>
              <a:t>PSDebug</a:t>
            </a:r>
            <a:r>
              <a:rPr lang="en-US" sz="1800">
                <a:solidFill>
                  <a:prstClr val="black"/>
                </a:solidFill>
                <a:latin typeface="Lucida Console" panose="020B0609040504020204" pitchFamily="49" charset="0"/>
              </a:rPr>
              <a:t> </a:t>
            </a:r>
            <a:r>
              <a:rPr lang="en-US" sz="1800">
                <a:solidFill>
                  <a:srgbClr val="000080"/>
                </a:solidFill>
                <a:latin typeface="Lucida Console" panose="020B0609040504020204" pitchFamily="49" charset="0"/>
              </a:rPr>
              <a:t>-Trace</a:t>
            </a:r>
            <a:r>
              <a:rPr lang="en-US" sz="1800">
                <a:solidFill>
                  <a:prstClr val="black"/>
                </a:solidFill>
                <a:latin typeface="Lucida Console" panose="020B0609040504020204" pitchFamily="49" charset="0"/>
              </a:rPr>
              <a:t> </a:t>
            </a:r>
            <a:r>
              <a:rPr lang="en-US" sz="1800">
                <a:solidFill>
                  <a:srgbClr val="800080"/>
                </a:solidFill>
                <a:latin typeface="Lucida Console" panose="020B0609040504020204" pitchFamily="49" charset="0"/>
              </a:rPr>
              <a:t>2</a:t>
            </a:r>
            <a:endParaRPr lang="en-US" sz="1800">
              <a:solidFill>
                <a:prstClr val="black"/>
              </a:solidFill>
              <a:latin typeface="Lucida Console" panose="020B0609040504020204" pitchFamily="49" charset="0"/>
            </a:endParaRPr>
          </a:p>
          <a:p>
            <a:endParaRPr lang="en-US" sz="1800">
              <a:solidFill>
                <a:prstClr val="black"/>
              </a:solidFill>
              <a:latin typeface="Lucida Console" panose="020B0609040504020204" pitchFamily="49" charset="0"/>
            </a:endParaRPr>
          </a:p>
          <a:p>
            <a:r>
              <a:rPr lang="en-US" sz="1800">
                <a:solidFill>
                  <a:srgbClr val="00008B"/>
                </a:solidFill>
                <a:latin typeface="Lucida Console" panose="020B0609040504020204" pitchFamily="49" charset="0"/>
              </a:rPr>
              <a:t>Function</a:t>
            </a:r>
            <a:r>
              <a:rPr lang="en-US" sz="1800">
                <a:solidFill>
                  <a:prstClr val="black"/>
                </a:solidFill>
                <a:latin typeface="Lucida Console" panose="020B0609040504020204" pitchFamily="49" charset="0"/>
              </a:rPr>
              <a:t> </a:t>
            </a:r>
            <a:r>
              <a:rPr lang="en-US" sz="1800">
                <a:solidFill>
                  <a:srgbClr val="8A2BE2"/>
                </a:solidFill>
                <a:latin typeface="Lucida Console" panose="020B0609040504020204" pitchFamily="49" charset="0"/>
              </a:rPr>
              <a:t>Foo </a:t>
            </a:r>
            <a:r>
              <a:rPr lang="en-US" sz="1800">
                <a:solidFill>
                  <a:prstClr val="black"/>
                </a:solidFill>
                <a:latin typeface="Lucida Console" panose="020B0609040504020204" pitchFamily="49" charset="0"/>
              </a:rPr>
              <a:t>{</a:t>
            </a:r>
          </a:p>
          <a:p>
            <a:r>
              <a:rPr lang="en-US" sz="1800">
                <a:solidFill>
                  <a:prstClr val="black"/>
                </a:solidFill>
                <a:latin typeface="Lucida Console" panose="020B0609040504020204" pitchFamily="49" charset="0"/>
              </a:rPr>
              <a:t>  </a:t>
            </a:r>
            <a:r>
              <a:rPr lang="en-US" sz="1800">
                <a:solidFill>
                  <a:srgbClr val="0000FF"/>
                </a:solidFill>
                <a:latin typeface="Lucida Console" panose="020B0609040504020204" pitchFamily="49" charset="0"/>
              </a:rPr>
              <a:t>Write-Host</a:t>
            </a:r>
            <a:r>
              <a:rPr lang="en-US" sz="1800">
                <a:solidFill>
                  <a:prstClr val="black"/>
                </a:solidFill>
                <a:latin typeface="Lucida Console" panose="020B0609040504020204" pitchFamily="49" charset="0"/>
              </a:rPr>
              <a:t> </a:t>
            </a:r>
            <a:r>
              <a:rPr lang="en-US" sz="1800">
                <a:solidFill>
                  <a:srgbClr val="8B0000"/>
                </a:solidFill>
                <a:latin typeface="Lucida Console" panose="020B0609040504020204" pitchFamily="49" charset="0"/>
              </a:rPr>
              <a:t>"Foo"</a:t>
            </a:r>
          </a:p>
          <a:p>
            <a:r>
              <a:rPr lang="en-US" sz="1800">
                <a:solidFill>
                  <a:prstClr val="black"/>
                </a:solidFill>
                <a:latin typeface="Lucida Console" panose="020B0609040504020204" pitchFamily="49" charset="0"/>
              </a:rPr>
              <a:t>}</a:t>
            </a:r>
          </a:p>
          <a:p>
            <a:endParaRPr lang="en-US" sz="1800">
              <a:solidFill>
                <a:prstClr val="black"/>
              </a:solidFill>
              <a:latin typeface="Lucida Console" panose="020B0609040504020204" pitchFamily="49" charset="0"/>
            </a:endParaRPr>
          </a:p>
          <a:p>
            <a:r>
              <a:rPr lang="en-US" sz="1800">
                <a:solidFill>
                  <a:srgbClr val="0000FF"/>
                </a:solidFill>
                <a:latin typeface="Lucida Console" panose="020B0609040504020204" pitchFamily="49" charset="0"/>
              </a:rPr>
              <a:t>Foo</a:t>
            </a:r>
            <a:endParaRPr lang="en-US" sz="1800">
              <a:solidFill>
                <a:prstClr val="black"/>
              </a:solidFill>
              <a:latin typeface="Lucida Console" panose="020B0609040504020204" pitchFamily="49" charset="0"/>
            </a:endParaRPr>
          </a:p>
          <a:p>
            <a:endParaRPr lang="en-US" sz="1800">
              <a:solidFill>
                <a:prstClr val="black"/>
              </a:solidFill>
              <a:latin typeface="Lucida Console" panose="020B0609040504020204" pitchFamily="49" charset="0"/>
            </a:endParaRPr>
          </a:p>
          <a:p>
            <a:r>
              <a:rPr lang="en-US" sz="1800">
                <a:solidFill>
                  <a:srgbClr val="A82D00"/>
                </a:solidFill>
                <a:latin typeface="Lucida Console" panose="020B0609040504020204" pitchFamily="49" charset="0"/>
              </a:rPr>
              <a:t>$Var</a:t>
            </a:r>
            <a:r>
              <a:rPr lang="en-US" sz="1800">
                <a:solidFill>
                  <a:prstClr val="black"/>
                </a:solidFill>
                <a:latin typeface="Lucida Console" panose="020B0609040504020204" pitchFamily="49" charset="0"/>
              </a:rPr>
              <a:t> </a:t>
            </a:r>
            <a:r>
              <a:rPr lang="en-US" sz="1800">
                <a:solidFill>
                  <a:srgbClr val="696969"/>
                </a:solidFill>
                <a:latin typeface="Lucida Console" panose="020B0609040504020204" pitchFamily="49" charset="0"/>
              </a:rPr>
              <a:t>=</a:t>
            </a:r>
            <a:r>
              <a:rPr lang="en-US" sz="1800">
                <a:solidFill>
                  <a:prstClr val="black"/>
                </a:solidFill>
                <a:latin typeface="Lucida Console" panose="020B0609040504020204" pitchFamily="49" charset="0"/>
              </a:rPr>
              <a:t> </a:t>
            </a:r>
            <a:r>
              <a:rPr lang="en-US" sz="1800">
                <a:solidFill>
                  <a:srgbClr val="8B0000"/>
                </a:solidFill>
                <a:latin typeface="Lucida Console" panose="020B0609040504020204" pitchFamily="49" charset="0"/>
              </a:rPr>
              <a:t>"Hello World"</a:t>
            </a:r>
          </a:p>
        </p:txBody>
      </p:sp>
    </p:spTree>
    <p:custDataLst>
      <p:tags r:id="rId1"/>
    </p:custDataLst>
    <p:extLst>
      <p:ext uri="{BB962C8B-B14F-4D97-AF65-F5344CB8AC3E}">
        <p14:creationId xmlns:p14="http://schemas.microsoft.com/office/powerpoint/2010/main" val="2730702649"/>
      </p:ext>
    </p:extLst>
  </p:cSld>
  <p:clrMapOvr>
    <a:masterClrMapping/>
  </p:clrMapOvr>
  <p:transition spd="slow"/>
</p:sld>
</file>

<file path=ppt/slides/slide3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320" y="3584448"/>
            <a:ext cx="4352925" cy="1798257"/>
          </a:xfrm>
        </p:spPr>
        <p:txBody>
          <a:bodyPr/>
          <a:lstStyle/>
          <a:p>
            <a:r>
              <a:rPr lang="en-US"/>
              <a:t>Debugging - other command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39EDAACA-5365-474B-84CE-8C66325CA88D}"/>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2752954175"/>
      </p:ext>
    </p:extLst>
  </p:cSld>
  <p:clrMapOvr>
    <a:masterClrMapping/>
  </p:clrMapOvr>
  <p:transition spd="slow"/>
</p:sld>
</file>

<file path=ppt/slides/slide3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a:xfrm>
            <a:off x="655320" y="3581400"/>
            <a:ext cx="4352925" cy="2646236"/>
          </a:xfrm>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4000" y="0"/>
            <a:ext cx="6858000" cy="6861524"/>
          </a:xfrm>
          <a:prstGeom prst="rect">
            <a:avLst/>
          </a:prstGeom>
        </p:spPr>
      </p:pic>
    </p:spTree>
    <p:custDataLst>
      <p:tags r:id="rId1"/>
    </p:custDataLst>
    <p:extLst>
      <p:ext uri="{BB962C8B-B14F-4D97-AF65-F5344CB8AC3E}">
        <p14:creationId xmlns:p14="http://schemas.microsoft.com/office/powerpoint/2010/main" val="3371110617"/>
      </p:ext>
    </p:extLst>
  </p:cSld>
  <p:clrMapOvr>
    <a:masterClrMapping/>
  </p:clrMapOvr>
  <p:transition spd="slow"/>
</p:sld>
</file>

<file path=ppt/slides/slide3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37">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Debugging In Visual Studio Code</a:t>
            </a:r>
          </a:p>
        </p:txBody>
      </p:sp>
    </p:spTree>
    <p:custDataLst>
      <p:tags r:id="rId1"/>
    </p:custDataLst>
    <p:extLst>
      <p:ext uri="{BB962C8B-B14F-4D97-AF65-F5344CB8AC3E}">
        <p14:creationId xmlns:p14="http://schemas.microsoft.com/office/powerpoint/2010/main" val="3288870019"/>
      </p:ext>
    </p:extLst>
  </p:cSld>
  <p:clrMapOvr>
    <a:masterClrMapping/>
  </p:clrMapOvr>
  <p:transition spd="slow"/>
</p:sld>
</file>

<file path=ppt/slides/slide3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Visual Studio Code Debugger</a:t>
            </a:r>
          </a:p>
        </p:txBody>
      </p:sp>
      <p:graphicFrame>
        <p:nvGraphicFramePr>
          <p:cNvPr id="4" name="Diagram 3">
            <a:extLst>
              <a:ext uri="{FF2B5EF4-FFF2-40B4-BE49-F238E27FC236}">
                <a16:creationId xmlns:a16="http://schemas.microsoft.com/office/drawing/2014/main" id="{30553AC0-86E7-48AD-AE50-152E2377470F}"/>
              </a:ext>
            </a:extLst>
          </p:cNvPr>
          <p:cNvGraphicFramePr/>
          <p:nvPr>
            <p:extLst>
              <p:ext uri="{D42A27DB-BD31-4B8C-83A1-F6EECF244321}">
                <p14:modId xmlns:p14="http://schemas.microsoft.com/office/powerpoint/2010/main" val="371997782"/>
              </p:ext>
            </p:extLst>
          </p:nvPr>
        </p:nvGraphicFramePr>
        <p:xfrm>
          <a:off x="640079" y="1005840"/>
          <a:ext cx="5486400" cy="5486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Picture 7">
            <a:extLst>
              <a:ext uri="{FF2B5EF4-FFF2-40B4-BE49-F238E27FC236}">
                <a16:creationId xmlns:a16="http://schemas.microsoft.com/office/drawing/2014/main" id="{A1479ED6-D3CC-42CD-9465-7CF4CEA4FD78}"/>
              </a:ext>
            </a:extLst>
          </p:cNvPr>
          <p:cNvPicPr>
            <a:picLocks noChangeAspect="1"/>
          </p:cNvPicPr>
          <p:nvPr/>
        </p:nvPicPr>
        <p:blipFill>
          <a:blip r:embed="rId9"/>
          <a:stretch>
            <a:fillRect/>
          </a:stretch>
        </p:blipFill>
        <p:spPr>
          <a:xfrm>
            <a:off x="7315200" y="2286000"/>
            <a:ext cx="3657600" cy="4202606"/>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D1239504-1450-43C1-90AD-2A29E6694784}"/>
              </a:ext>
            </a:extLst>
          </p:cNvPr>
          <p:cNvPicPr>
            <a:picLocks noChangeAspect="1"/>
          </p:cNvPicPr>
          <p:nvPr/>
        </p:nvPicPr>
        <p:blipFill rotWithShape="1">
          <a:blip r:embed="rId10"/>
          <a:srcRect t="18048" r="43304" b="25318"/>
          <a:stretch/>
        </p:blipFill>
        <p:spPr>
          <a:xfrm>
            <a:off x="7315200" y="1005836"/>
            <a:ext cx="3657600" cy="1124185"/>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2846242891"/>
      </p:ext>
    </p:extLst>
  </p:cSld>
  <p:clrMapOvr>
    <a:masterClrMapping/>
  </p:clrMapOvr>
  <p:transition spd="slow"/>
</p:sld>
</file>

<file path=ppt/slides/slide3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Debugging - advanced</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220A91AA-1069-4B95-98E7-E7D90205AC26}"/>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3078182137"/>
      </p:ext>
    </p:extLst>
  </p:cSld>
  <p:clrMapOvr>
    <a:masterClrMapping/>
  </p:clrMapOvr>
  <p:transition spd="slow"/>
</p:sld>
</file>

<file path=ppt/slides/slide3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sp>
        <p:nvSpPr>
          <p:cNvPr id="15" name="Text Placeholder 14">
            <a:extLst>
              <a:ext uri="{FF2B5EF4-FFF2-40B4-BE49-F238E27FC236}">
                <a16:creationId xmlns:a16="http://schemas.microsoft.com/office/drawing/2014/main" id="{6DAA8F88-5BE5-4DEB-B8E1-CCA52313CEB8}"/>
              </a:ext>
            </a:extLst>
          </p:cNvPr>
          <p:cNvSpPr>
            <a:spLocks noGrp="1"/>
          </p:cNvSpPr>
          <p:nvPr>
            <p:ph type="body" sz="quarter" idx="10"/>
          </p:nvPr>
        </p:nvSpPr>
        <p:spPr/>
        <p:txBody>
          <a:bodyPr/>
          <a:lstStyle/>
          <a:p>
            <a:endParaRPr lang="en-US"/>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670064589"/>
      </p:ext>
    </p:extLst>
  </p:cSld>
  <p:clrMapOvr>
    <a:masterClrMapping/>
  </p:clrMapOvr>
  <p:transition spd="slow"/>
</p:sld>
</file>

<file path=ppt/slides/slide3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Debugging</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algn="ctr"/>
            <a:r>
              <a:rPr lang="en-US"/>
              <a:t>45 Minutes</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813866374"/>
      </p:ext>
    </p:extLst>
  </p:cSld>
  <p:clrMapOvr>
    <a:masterClrMapping/>
  </p:clrMapOvr>
  <p:transition spd="slow"/>
</p:sld>
</file>

<file path=ppt/slides/slide3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0" y="2979738"/>
            <a:ext cx="9015413" cy="604837"/>
          </a:xfrm>
        </p:spPr>
        <p:txBody>
          <a:bodyPr/>
          <a:lstStyle/>
          <a:p>
            <a:r>
              <a:rPr lang="en-US">
                <a:noFill/>
              </a:rPr>
              <a:t>Microsoft</a:t>
            </a:r>
          </a:p>
        </p:txBody>
      </p:sp>
    </p:spTree>
    <p:custDataLst>
      <p:tags r:id="rId1"/>
    </p:custDataLst>
    <p:extLst>
      <p:ext uri="{BB962C8B-B14F-4D97-AF65-F5344CB8AC3E}">
        <p14:creationId xmlns:p14="http://schemas.microsoft.com/office/powerpoint/2010/main" val="1339254417"/>
      </p:ext>
    </p:extLst>
  </p:cSld>
  <p:clrMapOvr>
    <a:masterClrMapping/>
  </p:clrMapOvr>
  <p:transition spd="slow"/>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9">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Debugging Overview</a:t>
            </a:r>
          </a:p>
        </p:txBody>
      </p:sp>
    </p:spTree>
    <p:custDataLst>
      <p:tags r:id="rId1"/>
    </p:custDataLst>
    <p:extLst>
      <p:ext uri="{BB962C8B-B14F-4D97-AF65-F5344CB8AC3E}">
        <p14:creationId xmlns:p14="http://schemas.microsoft.com/office/powerpoint/2010/main" val="1483460119"/>
      </p:ext>
    </p:extLst>
  </p:cSld>
  <p:clrMapOvr>
    <a:masterClrMapping/>
  </p:clrMapOvr>
  <p:transition spd="slow"/>
</p:sld>
</file>

<file path=ppt/slides/slide5.xml><?xml version="1.0" encoding="utf-8"?>
<p:sld xmlns:a16="http://schemas.microsoft.com/office/drawing/2014/main" xmlns:dgm="http://schemas.openxmlformats.org/drawingml/2006/diagram"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bugging Overview</a:t>
            </a:r>
          </a:p>
        </p:txBody>
      </p:sp>
      <p:graphicFrame>
        <p:nvGraphicFramePr>
          <p:cNvPr id="6" name="Text Placeholder 3">
            <a:extLst>
              <a:ext uri="{FF2B5EF4-FFF2-40B4-BE49-F238E27FC236}">
                <a16:creationId xmlns:a16="http://schemas.microsoft.com/office/drawing/2014/main" id="{A25422A3-EC71-4EF3-9DAE-3D8769C02872}"/>
              </a:ext>
            </a:extLst>
          </p:cNvPr>
          <p:cNvGraphicFramePr/>
          <p:nvPr/>
        </p:nvGraphicFramePr>
        <p:xfrm>
          <a:off x="655637" y="1020417"/>
          <a:ext cx="10880726" cy="2209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 name="Text Placeholder 3">
            <a:extLst>
              <a:ext uri="{FF2B5EF4-FFF2-40B4-BE49-F238E27FC236}">
                <a16:creationId xmlns:a16="http://schemas.microsoft.com/office/drawing/2014/main" id="{14BFFC21-6822-4508-8FD5-E34A45A1FDEB}"/>
              </a:ext>
            </a:extLst>
          </p:cNvPr>
          <p:cNvGraphicFramePr/>
          <p:nvPr>
            <p:extLst>
              <p:ext uri="{D42A27DB-BD31-4B8C-83A1-F6EECF244321}">
                <p14:modId xmlns:p14="http://schemas.microsoft.com/office/powerpoint/2010/main" val="2684877767"/>
              </p:ext>
            </p:extLst>
          </p:nvPr>
        </p:nvGraphicFramePr>
        <p:xfrm>
          <a:off x="655637" y="2632710"/>
          <a:ext cx="10880726" cy="390525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673102809"/>
      </p:ext>
    </p:extLst>
  </p:cSld>
  <p:clrMapOvr>
    <a:masterClrMapping/>
  </p:clrMapOvr>
  <p:transition spd="slow"/>
</p:sld>
</file>

<file path=ppt/slides/slide6.xml><?xml version="1.0" encoding="utf-8"?>
<p:sld xmlns:a16="http://schemas.microsoft.com/office/drawing/2014/main" xmlns:p14="http://schemas.microsoft.com/office/powerpoint/2010/main" xmlns:p188="http://schemas.microsoft.com/office/powerpoint/2018/8/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2CAD8-5390-418D-A00A-9B5137261C8A}"/>
              </a:ext>
            </a:extLst>
          </p:cNvPr>
          <p:cNvSpPr>
            <a:spLocks noGrp="1"/>
          </p:cNvSpPr>
          <p:nvPr>
            <p:ph type="title"/>
          </p:nvPr>
        </p:nvSpPr>
        <p:spPr/>
        <p:txBody>
          <a:bodyPr/>
          <a:lstStyle/>
          <a:p>
            <a:r>
              <a:rPr lang="en-US"/>
              <a:t>ISE Debugger Visual</a:t>
            </a:r>
          </a:p>
        </p:txBody>
      </p:sp>
      <p:pic>
        <p:nvPicPr>
          <p:cNvPr id="7" name="Picture 6">
            <a:extLst>
              <a:ext uri="{FF2B5EF4-FFF2-40B4-BE49-F238E27FC236}">
                <a16:creationId xmlns:a16="http://schemas.microsoft.com/office/drawing/2014/main" id="{A7460838-613A-40B8-A633-3067B35AB8D0}"/>
              </a:ext>
            </a:extLst>
          </p:cNvPr>
          <p:cNvPicPr>
            <a:picLocks noChangeAspect="1"/>
          </p:cNvPicPr>
          <p:nvPr/>
        </p:nvPicPr>
        <p:blipFill>
          <a:blip r:embed="rId4"/>
          <a:stretch>
            <a:fillRect/>
          </a:stretch>
        </p:blipFill>
        <p:spPr>
          <a:xfrm>
            <a:off x="640080" y="1005840"/>
            <a:ext cx="6137346" cy="5303520"/>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35F7D9A6-2510-450D-BD37-9CDFA01F2AC8}"/>
              </a:ext>
            </a:extLst>
          </p:cNvPr>
          <p:cNvPicPr>
            <a:picLocks noChangeAspect="1"/>
          </p:cNvPicPr>
          <p:nvPr/>
        </p:nvPicPr>
        <p:blipFill rotWithShape="1">
          <a:blip r:embed="rId5"/>
          <a:srcRect l="1" r="861"/>
          <a:stretch/>
        </p:blipFill>
        <p:spPr>
          <a:xfrm>
            <a:off x="7223760" y="1005840"/>
            <a:ext cx="4563114" cy="530352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188363282"/>
      </p:ext>
    </p:extLst>
  </p:cSld>
  <p:clrMapOvr>
    <a:masterClrMapping/>
  </p:clrMapOvr>
  <p:extLst>
    <p:ext uri="{6950BFC3-D8DA-4A85-94F7-54DA5524770B}">
      <p188:commentRel xmlns:p188="http://schemas.microsoft.com/office/powerpoint/2018/8/main" r:id="rId3"/>
    </p:ext>
  </p:extLst>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2CAD8-5390-418D-A00A-9B5137261C8A}"/>
              </a:ext>
            </a:extLst>
          </p:cNvPr>
          <p:cNvSpPr>
            <a:spLocks noGrp="1"/>
          </p:cNvSpPr>
          <p:nvPr>
            <p:ph type="title"/>
          </p:nvPr>
        </p:nvSpPr>
        <p:spPr/>
        <p:txBody>
          <a:bodyPr/>
          <a:lstStyle/>
          <a:p>
            <a:r>
              <a:rPr lang="en-US"/>
              <a:t>VS Code Debugger Visual</a:t>
            </a:r>
          </a:p>
        </p:txBody>
      </p:sp>
      <p:pic>
        <p:nvPicPr>
          <p:cNvPr id="4" name="Picture 3">
            <a:extLst>
              <a:ext uri="{FF2B5EF4-FFF2-40B4-BE49-F238E27FC236}">
                <a16:creationId xmlns:a16="http://schemas.microsoft.com/office/drawing/2014/main" id="{CFCC55E9-B24C-2639-8E37-62B54FDC7AC1}"/>
              </a:ext>
            </a:extLst>
          </p:cNvPr>
          <p:cNvPicPr>
            <a:picLocks noChangeAspect="1"/>
          </p:cNvPicPr>
          <p:nvPr/>
        </p:nvPicPr>
        <p:blipFill>
          <a:blip r:embed="rId3"/>
          <a:stretch>
            <a:fillRect/>
          </a:stretch>
        </p:blipFill>
        <p:spPr>
          <a:xfrm>
            <a:off x="640080" y="1005840"/>
            <a:ext cx="6126480" cy="5301019"/>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BE5B7C03-58DC-8C88-705E-3EEFBA13C961}"/>
              </a:ext>
            </a:extLst>
          </p:cNvPr>
          <p:cNvPicPr>
            <a:picLocks noChangeAspect="1"/>
          </p:cNvPicPr>
          <p:nvPr/>
        </p:nvPicPr>
        <p:blipFill>
          <a:blip r:embed="rId4"/>
          <a:stretch>
            <a:fillRect/>
          </a:stretch>
        </p:blipFill>
        <p:spPr>
          <a:xfrm>
            <a:off x="7589520" y="457200"/>
            <a:ext cx="3429886" cy="62179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69769290"/>
      </p:ext>
    </p:extLst>
  </p:cSld>
  <p:clrMapOvr>
    <a:masterClrMapping/>
  </p:clrMapOvr>
</p:sld>
</file>

<file path=ppt/slides/slide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714">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2"/>
            </p:custDataLst>
          </p:nvPr>
        </p:nvSpPr>
        <p:spPr/>
        <p:txBody>
          <a:bodyPr/>
          <a:lstStyle/>
          <a:p>
            <a:r>
              <a:rPr lang="en-US"/>
              <a:t>Breakpoints</a:t>
            </a:r>
          </a:p>
        </p:txBody>
      </p:sp>
    </p:spTree>
    <p:custDataLst>
      <p:tags r:id="rId1"/>
    </p:custDataLst>
    <p:extLst>
      <p:ext uri="{BB962C8B-B14F-4D97-AF65-F5344CB8AC3E}">
        <p14:creationId xmlns:p14="http://schemas.microsoft.com/office/powerpoint/2010/main" val="2484169840"/>
      </p:ext>
    </p:extLst>
  </p:cSld>
  <p:clrMapOvr>
    <a:masterClrMapping/>
  </p:clrMapOvr>
  <p:transition spd="slow"/>
</p:sld>
</file>

<file path=ppt/slides/slide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Breakpoints</a:t>
            </a:r>
          </a:p>
        </p:txBody>
      </p:sp>
      <p:graphicFrame>
        <p:nvGraphicFramePr>
          <p:cNvPr id="7" name="Text Placeholder 2">
            <a:extLst>
              <a:ext uri="{FF2B5EF4-FFF2-40B4-BE49-F238E27FC236}">
                <a16:creationId xmlns:a16="http://schemas.microsoft.com/office/drawing/2014/main" id="{7368B303-CF16-4220-B838-8FA9A1A56F31}"/>
              </a:ext>
            </a:extLst>
          </p:cNvPr>
          <p:cNvGraphicFramePr/>
          <p:nvPr>
            <p:extLst>
              <p:ext uri="{D42A27DB-BD31-4B8C-83A1-F6EECF244321}">
                <p14:modId xmlns:p14="http://schemas.microsoft.com/office/powerpoint/2010/main" val="1958621272"/>
              </p:ext>
            </p:extLst>
          </p:nvPr>
        </p:nvGraphicFramePr>
        <p:xfrm>
          <a:off x="655638" y="2125268"/>
          <a:ext cx="10972800" cy="416148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 name="Diagram 3">
            <a:extLst>
              <a:ext uri="{FF2B5EF4-FFF2-40B4-BE49-F238E27FC236}">
                <a16:creationId xmlns:a16="http://schemas.microsoft.com/office/drawing/2014/main" id="{95950414-2535-4796-9B33-B31003ABEBF4}"/>
              </a:ext>
            </a:extLst>
          </p:cNvPr>
          <p:cNvGraphicFramePr/>
          <p:nvPr>
            <p:extLst>
              <p:ext uri="{D42A27DB-BD31-4B8C-83A1-F6EECF244321}">
                <p14:modId xmlns:p14="http://schemas.microsoft.com/office/powerpoint/2010/main" val="421673355"/>
              </p:ext>
            </p:extLst>
          </p:nvPr>
        </p:nvGraphicFramePr>
        <p:xfrm>
          <a:off x="655638" y="1074192"/>
          <a:ext cx="10972800" cy="1381539"/>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2819570987"/>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7B040259-BBFF-4E4F-A6B7-CE9F356C9B85}&lt;/SectionId&gt;&lt;Name&gt;WorkshopPLUS - Windows PowerShell: Tool Building&lt;/Name&gt;&lt;SlidesCount&gt;3&lt;/SlidesCount&gt;&lt;SlideGuids /&gt;&lt;/NativeSection&gt;&lt;NativeSection&gt;&lt;SectionId&gt;{62B5ED0F-1342-45DF-95CC-354A86E09E9C}&lt;/SectionId&gt;&lt;Name&gt;Debugging Introduction&lt;/Name&gt;&lt;SlidesCount&gt;10&lt;/SlidesCount&gt;&lt;SlideGuids /&gt;&lt;/NativeSection&gt;&lt;NativeSection&gt;&lt;SectionId&gt;{92C56DB6-2B4D-4757-9A47-13F5D8C6B2D4}&lt;/SectionId&gt;&lt;Name&gt;Debugging Basics&lt;/Name&gt;&lt;SlidesCount&gt;7&lt;/SlidesCount&gt;&lt;SlideGuids /&gt;&lt;/NativeSection&gt;&lt;NativeSection&gt;&lt;SectionId&gt;{D703CF6C-BE53-4A56-B43E-C45ECB095AD9}&lt;/SectionId&gt;&lt;Name&gt;Debugging PowerShell ISE&lt;/Name&gt;&lt;SlidesCount&gt;9&lt;/SlidesCount&gt;&lt;SlideGuids /&gt;&lt;/NativeSection&gt;&lt;NativeSection&gt;&lt;SectionId&gt;{780921BD-3A74-44B2-867D-1375113F80E0}&lt;/SectionId&gt;&lt;Name&gt;Debugging PowerShell Console&lt;/Name&gt;&lt;SlidesCount&gt;6&lt;/SlidesCount&gt;&lt;SlideGuids /&gt;&lt;/NativeSection&gt;&lt;NativeSection&gt;&lt;SectionId&gt;{4A75227B-7758-49D9-86DE-4E7834D26B06}&lt;/SectionId&gt;&lt;Name&gt;Debugging Advanced&lt;/Name&gt;&lt;SlidesCount&gt;12&lt;/SlidesCount&gt;&lt;SlideGuids /&gt;&lt;/NativeSection&gt;&lt;NativeSection&gt;&lt;SectionId&gt;{CDFAFFAD-8BE3-4222-9341-E0D846A9F72A}&lt;/SectionId&gt;&lt;Name&gt;Debugging Other commands&lt;/Name&gt;&lt;SlidesCount&gt;12&lt;/SlidesCount&gt;&lt;SlideGuids /&gt;&lt;/NativeSection&gt;&lt;NativeSection&gt;&lt;SectionId&gt;{59AD7C61-7AFB-4213-8873-03EA98BF1D09}&lt;/SectionId&gt;&lt;Name&gt;LAB: Debugging&lt;/Name&gt;&lt;SlidesCount&gt;1&lt;/SlidesCount&gt;&lt;SlideGuids /&gt;&lt;/NativeSection&gt;&lt;NativeSection&gt;&lt;SectionId&gt;{08451622-A593-4135-A344-589EEBB83B64}&lt;/SectionId&gt;&lt;Name&gt;End&lt;/Name&gt;&lt;SlidesCount&gt;1&lt;/SlidesCount&gt;&lt;SlideGuids /&gt;&lt;/NativeSection&gt;&lt;/ArrayOfNativeSection&gt;"/>
  <p:tag name="MIO_EKGUID" val="e6afef23-cd7b-4f6d-9210-3067e0466026"/>
  <p:tag name="MIO_UPDATE" val="True"/>
  <p:tag name="MIO_VERSION" val="02.03.2020 12:27:26"/>
  <p:tag name="MIO_DBID" val="12B0C59E-2253-4124-A5E9-470ADF4CB168"/>
  <p:tag name="MIO_LASTDOWNLOADED" val="17.11.2020 14:37:24"/>
  <p:tag name="MIO_OBJECTNAME" val="M06 Debugging"/>
  <p:tag name="MIO_LASTEDITORNAME" val=""/>
</p:tagLst>
</file>

<file path=ppt/tags/tag10.xml><?xml version="1.0" encoding="utf-8"?>
<p:tagLst xmlns:a="http://schemas.openxmlformats.org/drawingml/2006/main" xmlns:r="http://schemas.openxmlformats.org/officeDocument/2006/relationships" xmlns:p="http://schemas.openxmlformats.org/presentationml/2006/main">
  <p:tag name="MIO_GUID" val="39d655b4-d956-4ff5-9c13-896f15baac93"/>
  <p:tag name="MIO_EKGUID" val="f40e3270-1e7b-4fc3-9446-5b31dfb47ea2"/>
  <p:tag name="MIO_UPDATE" val="True"/>
  <p:tag name="MIO_VERSION" val="07.08.2020 20:41:33"/>
  <p:tag name="MIO_DBID" val="12b0c59e-2253-4124-a5e9-470adf4cb168"/>
  <p:tag name="MIO_LASTDOWNLOADED" val="07.08.2020 22:12:46"/>
  <p:tag name="MIO_OBJECTNAME" val="Function Overview"/>
  <p:tag name="MIO_LASTEDITORNAME" val="Kory Thacher"/>
</p:tagLst>
</file>

<file path=ppt/tags/tag11.xml><?xml version="1.0" encoding="utf-8"?>
<p:tagLst xmlns:a="http://schemas.openxmlformats.org/drawingml/2006/main" xmlns:r="http://schemas.openxmlformats.org/officeDocument/2006/relationships" xmlns:p="http://schemas.openxmlformats.org/presentationml/2006/main">
  <p:tag name="MIO_GUID" val="b6928198-ff2c-4e77-9100-993a6cfa3d67"/>
  <p:tag name="MIO_EKGUID" val="5c7259fb-465f-47bc-983c-80b297e09444"/>
  <p:tag name="MIO_UPDATE" val="True"/>
  <p:tag name="MIO_VERSION" val="02.03.2020 12:27:21"/>
  <p:tag name="MIO_DBID" val="12b0c59e-2253-4124-a5e9-470adf4cb168"/>
  <p:tag name="MIO_LASTDOWNLOADED" val="02.03.2020 12:51:57"/>
  <p:tag name="MIO_OBJECTNAME" val="Debugging Basic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7ff97a9d-f155-4c53-968a-d05809d6aa23"/>
  <p:tag name="MIO_UPDATE" val="True"/>
  <p:tag name="MIO_VERSION" val="02.03.2020 12:27:21"/>
  <p:tag name="MIO_DBID" val="12b0c59e-2253-4124-a5e9-470adf4cb168"/>
  <p:tag name="MIO_LASTDOWNLOADED" val="02.03.2020 12:51:58"/>
  <p:tag name="MIO_OBJECTNAME" val="Demonstration (2)"/>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12.12.2019 14:37:32"/>
  <p:tag name="MIO_OBJECTNAME" val="EDU19_HigherEdComputerLab_007"/>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a00289ab-0319-488f-89f1-a80b993f5698"/>
  <p:tag name="MIO_UPDATE" val="True"/>
  <p:tag name="MIO_VERSION" val="02.03.2020 12:27:21"/>
  <p:tag name="MIO_DBID" val="12b0c59e-2253-4124-a5e9-470adf4cb168"/>
  <p:tag name="MIO_LASTDOWNLOADED" val="02.03.2020 12:51:58"/>
  <p:tag name="MIO_OBJECTNAME" val="Questions? (2)"/>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b6928198-ff2c-4e77-9100-993a6cfa3d67"/>
  <p:tag name="MIO_EKGUID" val="5c7259fb-465f-47bc-983c-80b297e09444"/>
  <p:tag name="MIO_UPDATE" val="True"/>
  <p:tag name="MIO_VERSION" val="02.03.2020 12:27:21"/>
  <p:tag name="MIO_DBID" val="12b0c59e-2253-4124-a5e9-470adf4cb168"/>
  <p:tag name="MIO_LASTDOWNLOADED" val="02.03.2020 12:51:57"/>
  <p:tag name="MIO_OBJECTNAME" val="Debugging Basic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7ff97a9d-f155-4c53-968a-d05809d6aa23"/>
  <p:tag name="MIO_UPDATE" val="True"/>
  <p:tag name="MIO_VERSION" val="02.03.2020 12:27:21"/>
  <p:tag name="MIO_DBID" val="12b0c59e-2253-4124-a5e9-470adf4cb168"/>
  <p:tag name="MIO_LASTDOWNLOADED" val="02.03.2020 12:51:58"/>
  <p:tag name="MIO_OBJECTNAME" val="Demonstration (2)"/>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12.12.2019 14:37:32"/>
  <p:tag name="MIO_OBJECTNAME" val="EDU19_HigherEdComputerLab_007"/>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a00289ab-0319-488f-89f1-a80b993f5698"/>
  <p:tag name="MIO_UPDATE" val="True"/>
  <p:tag name="MIO_VERSION" val="02.03.2020 12:27:21"/>
  <p:tag name="MIO_DBID" val="12b0c59e-2253-4124-a5e9-470adf4cb168"/>
  <p:tag name="MIO_LASTDOWNLOADED" val="02.03.2020 12:51:58"/>
  <p:tag name="MIO_OBJECTNAME" val="Questions? (2)"/>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92365d4d-eb47-4613-9f91-e9398137e5da"/>
  <p:tag name="MIO_EKGUID" val="b5ea22db-19b0-438c-819e-0e456b2332be"/>
  <p:tag name="MIO_UPDATE" val="True"/>
  <p:tag name="MIO_VERSION" val="02.03.2020 12:27:23"/>
  <p:tag name="MIO_DBID" val="12b0c59e-2253-4124-a5e9-470adf4cb168"/>
  <p:tag name="MIO_LASTDOWNLOADED" val="02.03.2020 12:51:59"/>
  <p:tag name="MIO_OBJECTNAME" val="Debugging PowerShell Console"/>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92365d4d-eb47-4613-9f91-e9398137e5da"/>
  <p:tag name="MIO_EKGUID" val="b5ea22db-19b0-438c-819e-0e456b2332be"/>
  <p:tag name="MIO_UPDATE" val="True"/>
  <p:tag name="MIO_VERSION" val="02.03.2020 12:27:23"/>
  <p:tag name="MIO_DBID" val="12b0c59e-2253-4124-a5e9-470adf4cb168"/>
  <p:tag name="MIO_LASTDOWNLOADED" val="02.03.2020 12:51:59"/>
  <p:tag name="MIO_OBJECTNAME" val="Debugging PowerShell Console"/>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e3b621f0-183f-4889-8e90-3ee3b5eeb835"/>
  <p:tag name="MIO_EKGUID" val="c3d601d6-c06e-48d8-89f4-2418fe2a6ff5"/>
  <p:tag name="MIO_UPDATE" val="True"/>
  <p:tag name="MIO_VERSION" val="02.03.2020 12:27:26"/>
  <p:tag name="MIO_DBID" val="12b0c59e-2253-4124-a5e9-470adf4cb168"/>
  <p:tag name="MIO_LASTDOWNLOADED" val="02.03.2020 12:52:02"/>
  <p:tag name="MIO_OBJECTNAME" val="Example: Trace parameter binding"/>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5b6b0b56-634c-4939-87c0-1862be2352e2"/>
  <p:tag name="MIO_UPDATE" val="True"/>
  <p:tag name="MIO_VERSION" val="02.03.2020 12:27:26"/>
  <p:tag name="MIO_DBID" val="12b0c59e-2253-4124-a5e9-470adf4cb168"/>
  <p:tag name="MIO_LASTDOWNLOADED" val="02.03.2020 12:52:02"/>
  <p:tag name="MIO_OBJECTNAME" val="Demonstration (6)"/>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34:17"/>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12.12.2019 15:12:54"/>
  <p:tag name="MIO_OBJECTNAME" val="EDU19_HigherEdComputerLab_007"/>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b96f5238-51d6-4873-81a0-c080ecb799ef"/>
  <p:tag name="MIO_UPDATE" val="True"/>
  <p:tag name="MIO_VERSION" val="02.03.2020 12:27:26"/>
  <p:tag name="MIO_DBID" val="12b0c59e-2253-4124-a5e9-470adf4cb168"/>
  <p:tag name="MIO_LASTDOWNLOADED" val="02.03.2020 12:52:02"/>
  <p:tag name="MIO_OBJECTNAME" val="Questions? (6)"/>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a4f541b6-f42a-4d60-86c1-da5327019f07"/>
  <p:tag name="MIO_EKGUID" val="f0d1ab57-5bb8-4b50-8aa4-50b1d01b579f"/>
  <p:tag name="MIO_UPDATE" val="True"/>
  <p:tag name="MIO_VERSION" val="02.03.2020 12:27:23"/>
  <p:tag name="MIO_DBID" val="12b0c59e-2253-4124-a5e9-470adf4cb168"/>
  <p:tag name="MIO_LASTDOWNLOADED" val="02.03.2020 12:52:00"/>
  <p:tag name="MIO_OBJECTNAME" val="Debugging Advanced"/>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b6ca502-7991-453b-ab3b-dd04e5efec79"/>
  <p:tag name="MIO_UPDATE" val="True"/>
  <p:tag name="MIO_VERSION" val="02.03.2020 12:27:25"/>
  <p:tag name="MIO_DBID" val="12b0c59e-2253-4124-a5e9-470adf4cb168"/>
  <p:tag name="MIO_LASTDOWNLOADED" val="02.03.2020 12:52:01"/>
  <p:tag name="MIO_OBJECTNAME" val="Demonstration (5)"/>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12.12.2019 14:56:32"/>
  <p:tag name="MIO_OBJECTNAME" val="EDU19_HigherEdComputerLab_007"/>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1531d8b5-ddf2-4451-bda0-81bee2d16cd3"/>
  <p:tag name="MIO_UPDATE" val="True"/>
  <p:tag name="MIO_VERSION" val="02.03.2020 12:27:25"/>
  <p:tag name="MIO_DBID" val="12b0c59e-2253-4124-a5e9-470adf4cb168"/>
  <p:tag name="MIO_LASTDOWNLOADED" val="02.03.2020 12:52:01"/>
  <p:tag name="MIO_OBJECTNAME" val="Questions? (5)"/>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c7d16aae-55b8-4c39-a850-939e296d27bb"/>
  <p:tag name="MIO_UPDATE" val="True"/>
  <p:tag name="MIO_VERSION" val="02.03.2020 12:27:26"/>
  <p:tag name="MIO_DBID" val="12b0c59e-2253-4124-a5e9-470adf4cb168"/>
  <p:tag name="MIO_LASTDOWNLOADED" val="02.03.2020 12:52:02"/>
  <p:tag name="MIO_OBJECTNAME" val="Debugging (2)"/>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4b8d45bb-4ef0-4205-a0f4-1d085c16c97f"/>
  <p:tag name="MIO_EKGUID" val="56e76f55-cbd9-42bc-a797-553a7c2eb9ba"/>
  <p:tag name="MIO_UPDATE" val="True"/>
  <p:tag name="MIO_VERSION" val="02.03.2020 12:27:20"/>
  <p:tag name="MIO_DBID" val="12b0c59e-2253-4124-a5e9-470adf4cb168"/>
  <p:tag name="MIO_LASTDOWNLOADED" val="02.03.2020 12:51:56"/>
  <p:tag name="MIO_OBJECTNAME" val="Debugging"/>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MIO_GUID" val="bc34d5d5-e29e-4860-89cc-65e1c4f10ce1"/>
  <p:tag name="MIO_EKGUID" val="6e772473-e7a7-41de-b389-81213145ef85"/>
  <p:tag name="MIO_UPDATE" val="True"/>
  <p:tag name="MIO_VERSION" val="02.03.2020 12:27:26"/>
  <p:tag name="MIO_DBID" val="12b0c59e-2253-4124-a5e9-470adf4cb168"/>
  <p:tag name="MIO_LASTDOWNLOADED" val="02.03.2020 12:52:02"/>
  <p:tag name="MIO_OBJECTNAME" val="Microsoft"/>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a3363089-352b-4f9d-ba0c-a8c63b441ba7"/>
  <p:tag name="MIO_EKGUID" val="4fe777fc-9067-43b7-a230-620b6c4cc6be"/>
  <p:tag name="MIO_UPDATE" val="True"/>
  <p:tag name="MIO_VERSION" val="02.03.2020 12:27:20"/>
  <p:tag name="MIO_DBID" val="12b0c59e-2253-4124-a5e9-470adf4cb168"/>
  <p:tag name="MIO_LASTDOWNLOADED" val="02.03.2020 12:51:56"/>
  <p:tag name="MIO_OBJECTNAME" val="Disclaimer"/>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4ba8757-fb5e-4140-8c51-6aa06a8cedf8"/>
  <p:tag name="MIO_EKGUID" val="958b05d2-7e0d-46ee-8a53-c2cc59c92f75"/>
  <p:tag name="MIO_UPDATE" val="True"/>
  <p:tag name="MIO_VERSION" val="02.03.2020 12:27:20"/>
  <p:tag name="MIO_DBID" val="12b0c59e-2253-4124-a5e9-470adf4cb168"/>
  <p:tag name="MIO_LASTDOWNLOADED" val="02.03.2020 12:51:56"/>
  <p:tag name="MIO_OBJECTNAME" val="Learnings covered in this Unit"/>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8a048ef9-f3d7-436e-b5c6-5868a7a25865"/>
  <p:tag name="MIO_EKGUID" val="6a8e8208-bbca-4888-a421-c108bc43a480"/>
  <p:tag name="MIO_UPDATE" val="True"/>
  <p:tag name="MIO_VERSION" val="02.03.2020 12:27:20"/>
  <p:tag name="MIO_DBID" val="12b0c59e-2253-4124-a5e9-470adf4cb168"/>
  <p:tag name="MIO_LASTDOWNLOADED" val="02.03.2020 12:51:56"/>
  <p:tag name="MIO_OBJECTNAME" val="Debugging Introduction"/>
  <p:tag name="MIO_LASTEDITORNAME" val="Devid Treuling"/>
</p:tagLst>
</file>

<file path=ppt/theme/theme1.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1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4479520e-c01d-46b7-8288-e62ea01161ee" variableListUniqueId="d6c5d8a6-45b5-4a0e-b0e7-cf1e0e53bdd5"/>
  </pd:DataReferenceList>
  <pd:VariableReplacementDescriptor name="" desc="" uid="">
    <pd:DataReferenceList>
      <pd:DataReference datasourceID="feebff45-792f-402d-b0b2-aef9b0ece030" dataFieldID="4479520e-c01d-46b7-8288-e62ea01161ee" variableListUniqueId="d6c5d8a6-45b5-4a0e-b0e7-cf1e0e53bdd5"/>
    </pd:DataReferenceList>
  </pd:VariableReplacementDescriptor>
</pd:PersonalizationDefinition>
</file>

<file path=customXml/item1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374fd9d5-855e-45a6-988d-265ad64af7ed" variableListUniqueId="d6c5d8a6-45b5-4a0e-b0e7-cf1e0e53bdd5"/>
  </pd:DataReferenceList>
  <pd:VariableReplacementDescriptor name="" desc="" uid="">
    <pd:DataReferenceList>
      <pd:DataReference datasourceID="feebff45-792f-402d-b0b2-aef9b0ece030" dataFieldID="374fd9d5-855e-45a6-988d-265ad64af7ed"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9.xml><?xml version="1.0" encoding="utf-8"?>
<ct:contentTypeSchema xmlns:ct="http://schemas.microsoft.com/office/2006/metadata/contentType" xmlns:ma="http://schemas.microsoft.com/office/2006/metadata/properties/metaAttributes" ct:_="" ma:_="" ma:contentTypeName="Document" ma:contentTypeID="0x0101001AFFBB813ED9B340817B8218D8AE0A88" ma:contentTypeVersion="4" ma:contentTypeDescription="Create a new document." ma:contentTypeScope="" ma:versionID="b351b96b083234bceb461150bf358b76">
  <xsd:schema xmlns:xsd="http://www.w3.org/2001/XMLSchema" xmlns:xs="http://www.w3.org/2001/XMLSchema" xmlns:p="http://schemas.microsoft.com/office/2006/metadata/properties" xmlns:ns1="http://schemas.microsoft.com/sharepoint/v3" xmlns:ns2="b3a7cdad-67b7-49c6-9bab-f625ee5dc3e7" targetNamespace="http://schemas.microsoft.com/office/2006/metadata/properties" ma:root="true" ma:fieldsID="3fb2ae936b2a572993e23624d901a5e3" ns1:_="" ns2:_="">
    <xsd:import namespace="http://schemas.microsoft.com/sharepoint/v3"/>
    <xsd:import namespace="b3a7cdad-67b7-49c6-9bab-f625ee5dc3e7"/>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a7cdad-67b7-49c6-9bab-f625ee5dc3e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BB1F8B2-CABC-4DC9-9B7E-99038F567AFE}">
  <ds:schemaRefs>
    <ds:schemaRef ds:uri="Strauss.PersonalizationDefinition"/>
  </ds:schemaRefs>
</ds:datastoreItem>
</file>

<file path=customXml/itemProps10.xml><?xml version="1.0" encoding="utf-8"?>
<ds:datastoreItem xmlns:ds="http://schemas.openxmlformats.org/officeDocument/2006/customXml" ds:itemID="{ED2067FC-119D-4BA7-B486-1719D170CDBB}">
  <ds:schemaRefs>
    <ds:schemaRef ds:uri="http://schemas.microsoft.com/sharepoint/v3/contenttype/forms"/>
  </ds:schemaRefs>
</ds:datastoreItem>
</file>

<file path=customXml/itemProps11.xml><?xml version="1.0" encoding="utf-8"?>
<ds:datastoreItem xmlns:ds="http://schemas.openxmlformats.org/officeDocument/2006/customXml" ds:itemID="{047D9218-A51C-49E2-BEC0-DEC1072728D0}">
  <ds:schemaRefs>
    <ds:schemaRef ds:uri="Strauss.PersonalizationDefinition"/>
  </ds:schemaRefs>
</ds:datastoreItem>
</file>

<file path=customXml/itemProps12.xml><?xml version="1.0" encoding="utf-8"?>
<ds:datastoreItem xmlns:ds="http://schemas.openxmlformats.org/officeDocument/2006/customXml" ds:itemID="{6835B406-80B5-44BF-B23F-60ECEF620667}">
  <ds:schemaRefs>
    <ds:schemaRef ds:uri="230e9df3-be65-4c73-a93b-d1236ebd677e"/>
    <ds:schemaRef ds:uri="cea7764e-6bf9-427d-be15-e74097e0a61c"/>
    <ds:schemaRef ds:uri="fa9ac045-4823-4e55-900e-1aa609c35a06"/>
    <ds:schemaRef ds:uri="http://schemas.microsoft.com/office/2006/metadata/properties"/>
    <ds:schemaRef ds:uri="http://schemas.microsoft.com/office/infopath/2007/PartnerControls"/>
    <ds:schemaRef ds:uri="http://schemas.microsoft.com/sharepoint/v3"/>
  </ds:schemaRefs>
</ds:datastoreItem>
</file>

<file path=customXml/itemProps13.xml><?xml version="1.0" encoding="utf-8"?>
<ds:datastoreItem xmlns:ds="http://schemas.openxmlformats.org/officeDocument/2006/customXml" ds:itemID="{E7F5CF41-4797-40B0-83C2-8A9F1002BEE9}">
  <ds:schemaRefs>
    <ds:schemaRef ds:uri="Strauss.PersonalizationDefinition"/>
  </ds:schemaRefs>
</ds:datastoreItem>
</file>

<file path=customXml/itemProps14.xml><?xml version="1.0" encoding="utf-8"?>
<ds:datastoreItem xmlns:ds="http://schemas.openxmlformats.org/officeDocument/2006/customXml" ds:itemID="{B09E3EAE-66CA-4A91-A5FE-A34A70B099ED}">
  <ds:schemaRefs>
    <ds:schemaRef ds:uri="Strauss.PersonalizationDefinition"/>
  </ds:schemaRefs>
</ds:datastoreItem>
</file>

<file path=customXml/itemProps15.xml><?xml version="1.0" encoding="utf-8"?>
<ds:datastoreItem xmlns:ds="http://schemas.openxmlformats.org/officeDocument/2006/customXml" ds:itemID="{4E154270-BD8A-426D-8109-1479EA216D6B}">
  <ds:schemaRefs>
    <ds:schemaRef ds:uri="Strauss.PersonalizationDefinition"/>
  </ds:schemaRefs>
</ds:datastoreItem>
</file>

<file path=customXml/itemProps16.xml><?xml version="1.0" encoding="utf-8"?>
<ds:datastoreItem xmlns:ds="http://schemas.openxmlformats.org/officeDocument/2006/customXml" ds:itemID="{9E55F19E-00D8-44EB-8643-E4B4809BF502}">
  <ds:schemaRefs>
    <ds:schemaRef ds:uri="Strauss.PersonalizationDefinition"/>
  </ds:schemaRefs>
</ds:datastoreItem>
</file>

<file path=customXml/itemProps17.xml><?xml version="1.0" encoding="utf-8"?>
<ds:datastoreItem xmlns:ds="http://schemas.openxmlformats.org/officeDocument/2006/customXml" ds:itemID="{D90DEB8C-C00E-4B1C-B45B-737A9292CE09}">
  <ds:schemaRefs>
    <ds:schemaRef ds:uri="Strauss.PersonalizationDefinition"/>
  </ds:schemaRefs>
</ds:datastoreItem>
</file>

<file path=customXml/itemProps18.xml><?xml version="1.0" encoding="utf-8"?>
<ds:datastoreItem xmlns:ds="http://schemas.openxmlformats.org/officeDocument/2006/customXml" ds:itemID="{F1A705D6-28A3-4570-82B4-CEDEABCA00D2}">
  <ds:schemaRefs>
    <ds:schemaRef ds:uri="Strauss.PersonalizationDefinition"/>
  </ds:schemaRefs>
</ds:datastoreItem>
</file>

<file path=customXml/itemProps19.xml><?xml version="1.0" encoding="utf-8"?>
<ds:datastoreItem xmlns:ds="http://schemas.openxmlformats.org/officeDocument/2006/customXml" ds:itemID="{73F3F0D0-B62C-445F-80AF-0940CEA78724}">
  <ds:schemaRefs>
    <ds:schemaRef ds:uri="Strauss.PersonalizationDefinition"/>
  </ds:schemaRefs>
</ds:datastoreItem>
</file>

<file path=customXml/itemProps2.xml><?xml version="1.0" encoding="utf-8"?>
<ds:datastoreItem xmlns:ds="http://schemas.openxmlformats.org/officeDocument/2006/customXml" ds:itemID="{08F96700-13F4-4EDF-8DF5-5D7858D11CAE}">
  <ds:schemaRefs>
    <ds:schemaRef ds:uri="Strauss.PersonalizationDefinition"/>
  </ds:schemaRefs>
</ds:datastoreItem>
</file>

<file path=customXml/itemProps3.xml><?xml version="1.0" encoding="utf-8"?>
<ds:datastoreItem xmlns:ds="http://schemas.openxmlformats.org/officeDocument/2006/customXml" ds:itemID="{D0D471BE-87FD-44D8-943B-ECAAB319E4BA}">
  <ds:schemaRefs>
    <ds:schemaRef ds:uri="Strauss.PersonalizationDefinition"/>
  </ds:schemaRefs>
</ds:datastoreItem>
</file>

<file path=customXml/itemProps4.xml><?xml version="1.0" encoding="utf-8"?>
<ds:datastoreItem xmlns:ds="http://schemas.openxmlformats.org/officeDocument/2006/customXml" ds:itemID="{53B2BBE9-FAD9-4DC4-85B3-2F4A959C4393}">
  <ds:schemaRefs>
    <ds:schemaRef ds:uri="Strauss.PersonalizationDefinition"/>
  </ds:schemaRefs>
</ds:datastoreItem>
</file>

<file path=customXml/itemProps5.xml><?xml version="1.0" encoding="utf-8"?>
<ds:datastoreItem xmlns:ds="http://schemas.openxmlformats.org/officeDocument/2006/customXml" ds:itemID="{FB11197B-51FC-4356-8D50-EAA335C670DC}">
  <ds:schemaRefs>
    <ds:schemaRef ds:uri="Strauss.PersonalizationDefinition"/>
  </ds:schemaRefs>
</ds:datastoreItem>
</file>

<file path=customXml/itemProps6.xml><?xml version="1.0" encoding="utf-8"?>
<ds:datastoreItem xmlns:ds="http://schemas.openxmlformats.org/officeDocument/2006/customXml" ds:itemID="{DF89BDF2-D7F0-4114-945C-9F7A7F4DF639}">
  <ds:schemaRefs>
    <ds:schemaRef ds:uri="Strauss.PersonalizationDefinition"/>
  </ds:schemaRefs>
</ds:datastoreItem>
</file>

<file path=customXml/itemProps7.xml><?xml version="1.0" encoding="utf-8"?>
<ds:datastoreItem xmlns:ds="http://schemas.openxmlformats.org/officeDocument/2006/customXml" ds:itemID="{7911F2EB-6AE3-4978-8427-868BF91198C9}">
  <ds:schemaRefs>
    <ds:schemaRef ds:uri="Strauss.PersonalizationDefinition"/>
  </ds:schemaRefs>
</ds:datastoreItem>
</file>

<file path=customXml/itemProps8.xml><?xml version="1.0" encoding="utf-8"?>
<ds:datastoreItem xmlns:ds="http://schemas.openxmlformats.org/officeDocument/2006/customXml" ds:itemID="{12A53E14-B0D7-4BAE-AF9D-742ECFCDC2F5}">
  <ds:schemaRefs>
    <ds:schemaRef ds:uri="Strauss.PersonalizationDefinition"/>
  </ds:schemaRefs>
</ds:datastoreItem>
</file>

<file path=customXml/itemProps9.xml><?xml version="1.0" encoding="utf-8"?>
<ds:datastoreItem xmlns:ds="http://schemas.openxmlformats.org/officeDocument/2006/customXml" ds:itemID="{E27E0C0D-795C-4019-9A48-8CCA65A32353}"/>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9</Slides>
  <Notes>39</Notes>
  <HiddenSlides>2</HiddenSlides>
  <ScaleCrop>false</ScaleCrop>
  <HeadingPairs>
    <vt:vector size="4" baseType="variant">
      <vt:variant>
        <vt:lpstr>Theme</vt:lpstr>
      </vt:variant>
      <vt:variant>
        <vt:i4>1</vt:i4>
      </vt:variant>
      <vt:variant>
        <vt:lpstr>Slide Titles</vt:lpstr>
      </vt:variant>
      <vt:variant>
        <vt:i4>39</vt:i4>
      </vt:variant>
    </vt:vector>
  </HeadingPairs>
  <TitlesOfParts>
    <vt:vector size="40" baseType="lpstr">
      <vt:lpstr>Light Grey</vt:lpstr>
      <vt:lpstr>Debugging</vt:lpstr>
      <vt:lpstr>Disclaimer</vt:lpstr>
      <vt:lpstr>Learnings covered in this Unit</vt:lpstr>
      <vt:lpstr>Debugging Overview</vt:lpstr>
      <vt:lpstr>Debugging Overview</vt:lpstr>
      <vt:lpstr>ISE Debugger Visual</vt:lpstr>
      <vt:lpstr>VS Code Debugger Visual</vt:lpstr>
      <vt:lpstr>Breakpoints</vt:lpstr>
      <vt:lpstr>Breakpoints</vt:lpstr>
      <vt:lpstr>Managing Breakpoints</vt:lpstr>
      <vt:lpstr>Breakpoint Cmdlets</vt:lpstr>
      <vt:lpstr>Demonstration</vt:lpstr>
      <vt:lpstr>Questions?</vt:lpstr>
      <vt:lpstr>Working With The Debugger</vt:lpstr>
      <vt:lpstr>Actions</vt:lpstr>
      <vt:lpstr>Actions</vt:lpstr>
      <vt:lpstr>Call Stack</vt:lpstr>
      <vt:lpstr>Get-PSCallStack Example</vt:lpstr>
      <vt:lpstr>Command line shortcuts</vt:lpstr>
      <vt:lpstr>Demonstration</vt:lpstr>
      <vt:lpstr>Questions?</vt:lpstr>
      <vt:lpstr>Additional Techniques</vt:lpstr>
      <vt:lpstr>Writing To The Console</vt:lpstr>
      <vt:lpstr>$PSDebugContext</vt:lpstr>
      <vt:lpstr>Debugging Cmdlets</vt:lpstr>
      <vt:lpstr>Cmdlets</vt:lpstr>
      <vt:lpstr>Set-StrictMode</vt:lpstr>
      <vt:lpstr>Example: Set-StrictMode</vt:lpstr>
      <vt:lpstr>Trace Data</vt:lpstr>
      <vt:lpstr>Example: Trace parameter binding</vt:lpstr>
      <vt:lpstr>Set-PSDebug</vt:lpstr>
      <vt:lpstr>Demonstration</vt:lpstr>
      <vt:lpstr>Questions?</vt:lpstr>
      <vt:lpstr>Debugging In Visual Studio Code</vt:lpstr>
      <vt:lpstr>Visual Studio Code Debugger</vt:lpstr>
      <vt:lpstr>Demonstration</vt:lpstr>
      <vt:lpstr>Questions?</vt:lpstr>
      <vt:lpstr>Debugging</vt:lpstr>
      <vt:lpstr>Microsoft</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mip_noreply@microsoft.com</dc:creator>
  <revision>1</revision>
  <dcterms:created xsi:type="dcterms:W3CDTF">2019-12-12T14:04:31.0000000Z</dcterms:created>
  <dcterms:modified xsi:type="dcterms:W3CDTF">2022-04-18T21:30:25.0000000Z</dcterms:modified>
  <lastModifiedBy>mip_noreply@microsoft.com</lastModifiedBy>
  <keywords>20230330.1</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MSIP_Label_f42aa342-8706-4288-bd11-ebb85995028c_Enabled">
    <vt:lpwstr>True</vt:lpwstr>
  </op:property>
  <op:property fmtid="{D5CDD505-2E9C-101B-9397-08002B2CF9AE}" pid="3" name="MSIP_Label_f42aa342-8706-4288-bd11-ebb85995028c_SiteId">
    <vt:lpwstr>72f988bf-86f1-41af-91ab-2d7cd011db47</vt:lpwstr>
  </op:property>
  <op:property fmtid="{D5CDD505-2E9C-101B-9397-08002B2CF9AE}" pid="4" name="MSIP_Label_f42aa342-8706-4288-bd11-ebb85995028c_Owner">
    <vt:lpwstr/>
  </op:property>
  <op:property fmtid="{D5CDD505-2E9C-101B-9397-08002B2CF9AE}" pid="5" name="MSIP_Label_f42aa342-8706-4288-bd11-ebb85995028c_SetDate">
    <vt:lpwstr>2019-12-12T14:13:07.1322457Z</vt:lpwstr>
  </op:property>
  <op:property fmtid="{D5CDD505-2E9C-101B-9397-08002B2CF9AE}" pid="6" name="MSIP_Label_f42aa342-8706-4288-bd11-ebb85995028c_Name">
    <vt:lpwstr>General</vt:lpwstr>
  </op:property>
  <op:property fmtid="{D5CDD505-2E9C-101B-9397-08002B2CF9AE}" pid="7" name="MSIP_Label_f42aa342-8706-4288-bd11-ebb85995028c_Application">
    <vt:lpwstr>Microsoft Azure Information Protection</vt:lpwstr>
  </op:property>
  <op:property fmtid="{D5CDD505-2E9C-101B-9397-08002B2CF9AE}" pid="8" name="MSIP_Label_f42aa342-8706-4288-bd11-ebb85995028c_ActionId">
    <vt:lpwstr>bd316fc0-bccd-4b5c-bc24-4853db9feef4</vt:lpwstr>
  </op:property>
  <op:property fmtid="{D5CDD505-2E9C-101B-9397-08002B2CF9AE}" pid="9" name="MSIP_Label_f42aa342-8706-4288-bd11-ebb85995028c_Extended_MSFT_Method">
    <vt:lpwstr>Automatic</vt:lpwstr>
  </op:property>
  <op:property fmtid="{D5CDD505-2E9C-101B-9397-08002B2CF9AE}" pid="10" name="Sensitivity">
    <vt:lpwstr>General</vt:lpwstr>
  </op:property>
  <op:property fmtid="{D5CDD505-2E9C-101B-9397-08002B2CF9AE}" pid="11" name="ContentTypeId">
    <vt:lpwstr>0x0101001AFFBB813ED9B340817B8218D8AE0A88</vt:lpwstr>
  </op:property>
  <op:property fmtid="{D5CDD505-2E9C-101B-9397-08002B2CF9AE}" pid="12" name="MediaServiceImageTags">
    <vt:lpwstr/>
  </op:property>
</op:Properties>
</file>